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77" r:id="rId2"/>
  </p:sldMasterIdLst>
  <p:notesMasterIdLst>
    <p:notesMasterId r:id="rId60"/>
  </p:notesMasterIdLst>
  <p:handoutMasterIdLst>
    <p:handoutMasterId r:id="rId61"/>
  </p:handoutMasterIdLst>
  <p:sldIdLst>
    <p:sldId id="409" r:id="rId3"/>
    <p:sldId id="463" r:id="rId4"/>
    <p:sldId id="462" r:id="rId5"/>
    <p:sldId id="410" r:id="rId6"/>
    <p:sldId id="300" r:id="rId7"/>
    <p:sldId id="303" r:id="rId8"/>
    <p:sldId id="298" r:id="rId9"/>
    <p:sldId id="304" r:id="rId10"/>
    <p:sldId id="305" r:id="rId11"/>
    <p:sldId id="310" r:id="rId12"/>
    <p:sldId id="311" r:id="rId13"/>
    <p:sldId id="306" r:id="rId14"/>
    <p:sldId id="307" r:id="rId15"/>
    <p:sldId id="312" r:id="rId16"/>
    <p:sldId id="313" r:id="rId17"/>
    <p:sldId id="314" r:id="rId18"/>
    <p:sldId id="296" r:id="rId19"/>
    <p:sldId id="411" r:id="rId20"/>
    <p:sldId id="327" r:id="rId21"/>
    <p:sldId id="315" r:id="rId22"/>
    <p:sldId id="333" r:id="rId23"/>
    <p:sldId id="317" r:id="rId24"/>
    <p:sldId id="328" r:id="rId25"/>
    <p:sldId id="318" r:id="rId26"/>
    <p:sldId id="319" r:id="rId27"/>
    <p:sldId id="331" r:id="rId28"/>
    <p:sldId id="321" r:id="rId29"/>
    <p:sldId id="332" r:id="rId30"/>
    <p:sldId id="308" r:id="rId31"/>
    <p:sldId id="324" r:id="rId32"/>
    <p:sldId id="325" r:id="rId33"/>
    <p:sldId id="326" r:id="rId34"/>
    <p:sldId id="412" r:id="rId35"/>
    <p:sldId id="329" r:id="rId36"/>
    <p:sldId id="413" r:id="rId37"/>
    <p:sldId id="414" r:id="rId38"/>
    <p:sldId id="415" r:id="rId39"/>
    <p:sldId id="416" r:id="rId40"/>
    <p:sldId id="334" r:id="rId41"/>
    <p:sldId id="337" r:id="rId42"/>
    <p:sldId id="425" r:id="rId43"/>
    <p:sldId id="417" r:id="rId44"/>
    <p:sldId id="339" r:id="rId45"/>
    <p:sldId id="340" r:id="rId46"/>
    <p:sldId id="418" r:id="rId47"/>
    <p:sldId id="420" r:id="rId48"/>
    <p:sldId id="421" r:id="rId49"/>
    <p:sldId id="422" r:id="rId50"/>
    <p:sldId id="423" r:id="rId51"/>
    <p:sldId id="424" r:id="rId52"/>
    <p:sldId id="352" r:id="rId53"/>
    <p:sldId id="301" r:id="rId54"/>
    <p:sldId id="335" r:id="rId55"/>
    <p:sldId id="336" r:id="rId56"/>
    <p:sldId id="341" r:id="rId57"/>
    <p:sldId id="342" r:id="rId58"/>
    <p:sldId id="343" r:id="rId59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440">
          <p15:clr>
            <a:srgbClr val="A4A3A4"/>
          </p15:clr>
        </p15:guide>
        <p15:guide id="2" orient="horz" pos="640">
          <p15:clr>
            <a:srgbClr val="A4A3A4"/>
          </p15:clr>
        </p15:guide>
        <p15:guide id="3" orient="horz" pos="712">
          <p15:clr>
            <a:srgbClr val="A4A3A4"/>
          </p15:clr>
        </p15:guide>
        <p15:guide id="4" orient="horz" pos="3928">
          <p15:clr>
            <a:srgbClr val="A4A3A4"/>
          </p15:clr>
        </p15:guide>
        <p15:guide id="5" orient="horz" pos="38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24E0C"/>
    <a:srgbClr val="17ABE3"/>
    <a:srgbClr val="A20000"/>
    <a:srgbClr val="A40000"/>
    <a:srgbClr val="9E0000"/>
    <a:srgbClr val="C7450B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62" autoAdjust="0"/>
    <p:restoredTop sz="94605" autoAdjust="0"/>
  </p:normalViewPr>
  <p:slideViewPr>
    <p:cSldViewPr snapToGrid="0">
      <p:cViewPr varScale="1">
        <p:scale>
          <a:sx n="159" d="100"/>
          <a:sy n="159" d="100"/>
        </p:scale>
        <p:origin x="4386" y="132"/>
      </p:cViewPr>
      <p:guideLst>
        <p:guide pos="5440"/>
        <p:guide orient="horz" pos="640"/>
        <p:guide orient="horz" pos="712"/>
        <p:guide orient="horz" pos="3928"/>
        <p:guide orient="horz" pos="38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5" Type="http://schemas.openxmlformats.org/officeDocument/2006/relationships/slide" Target="slides/slide3.xml"/><Relationship Id="rId61" Type="http://schemas.openxmlformats.org/officeDocument/2006/relationships/handoutMaster" Target="handoutMasters/handoutMaster1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theme" Target="theme/theme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notesMaster" Target="notesMasters/notesMaster1.xml"/><Relationship Id="rId65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&#24037;&#20316;&#31807;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&#24037;&#20316;&#31807;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&#24037;&#20316;&#31807;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&#24037;&#20316;&#31807;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&#24037;&#20316;&#31807;1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/>
              <a:t>动作概率</a:t>
            </a:r>
            <a:endParaRPr lang="en-US" altLang="zh-CN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N$5</c:f>
              <c:strCache>
                <c:ptCount val="1"/>
                <c:pt idx="0">
                  <c:v>Action Probabilit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M$6:$M$10</c:f>
              <c:strCache>
                <c:ptCount val="5"/>
                <c:pt idx="0">
                  <c:v>A1</c:v>
                </c:pt>
                <c:pt idx="1">
                  <c:v>A2</c:v>
                </c:pt>
                <c:pt idx="2">
                  <c:v>A3</c:v>
                </c:pt>
                <c:pt idx="3">
                  <c:v>A4</c:v>
                </c:pt>
                <c:pt idx="4">
                  <c:v>A5</c:v>
                </c:pt>
              </c:strCache>
            </c:strRef>
          </c:cat>
          <c:val>
            <c:numRef>
              <c:f>Sheet1!$N$6:$N$10</c:f>
              <c:numCache>
                <c:formatCode>General</c:formatCode>
                <c:ptCount val="5"/>
                <c:pt idx="0">
                  <c:v>0.2</c:v>
                </c:pt>
                <c:pt idx="1">
                  <c:v>0.2</c:v>
                </c:pt>
                <c:pt idx="2">
                  <c:v>0.2</c:v>
                </c:pt>
                <c:pt idx="3">
                  <c:v>0.2</c:v>
                </c:pt>
                <c:pt idx="4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DC-47D6-9E72-317B2129AB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19865960"/>
        <c:axId val="219864784"/>
      </c:barChart>
      <c:catAx>
        <c:axId val="219865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9864784"/>
        <c:crosses val="autoZero"/>
        <c:auto val="1"/>
        <c:lblAlgn val="ctr"/>
        <c:lblOffset val="100"/>
        <c:noMultiLvlLbl val="0"/>
      </c:catAx>
      <c:valAx>
        <c:axId val="2198647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9865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/>
              <a:t>动作概率</a:t>
            </a:r>
            <a:endParaRPr lang="en-US" altLang="zh-CN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T$5</c:f>
              <c:strCache>
                <c:ptCount val="1"/>
                <c:pt idx="0">
                  <c:v>Action Probabilit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S$6:$S$10</c:f>
              <c:strCache>
                <c:ptCount val="5"/>
                <c:pt idx="0">
                  <c:v>A1</c:v>
                </c:pt>
                <c:pt idx="1">
                  <c:v>A2</c:v>
                </c:pt>
                <c:pt idx="2">
                  <c:v>A3</c:v>
                </c:pt>
                <c:pt idx="3">
                  <c:v>A4</c:v>
                </c:pt>
                <c:pt idx="4">
                  <c:v>A5</c:v>
                </c:pt>
              </c:strCache>
            </c:strRef>
          </c:cat>
          <c:val>
            <c:numRef>
              <c:f>Sheet1!$T$6:$T$10</c:f>
              <c:numCache>
                <c:formatCode>General</c:formatCode>
                <c:ptCount val="5"/>
                <c:pt idx="0">
                  <c:v>0.16666666666666666</c:v>
                </c:pt>
                <c:pt idx="1">
                  <c:v>0.33333333333333331</c:v>
                </c:pt>
                <c:pt idx="2">
                  <c:v>0.16666666666666666</c:v>
                </c:pt>
                <c:pt idx="3">
                  <c:v>0.16666666666666666</c:v>
                </c:pt>
                <c:pt idx="4">
                  <c:v>0.166666666666666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75-4BEB-86A7-C3830F5141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19867920"/>
        <c:axId val="219866744"/>
      </c:barChart>
      <c:catAx>
        <c:axId val="219867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9866744"/>
        <c:crosses val="autoZero"/>
        <c:auto val="1"/>
        <c:lblAlgn val="ctr"/>
        <c:lblOffset val="100"/>
        <c:noMultiLvlLbl val="0"/>
      </c:catAx>
      <c:valAx>
        <c:axId val="2198667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9867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/>
              <a:t>动作概率</a:t>
            </a:r>
            <a:endParaRPr lang="en-US" altLang="zh-CN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Y$5</c:f>
              <c:strCache>
                <c:ptCount val="1"/>
                <c:pt idx="0">
                  <c:v>Action Probabilit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X$6:$X$10</c:f>
              <c:strCache>
                <c:ptCount val="5"/>
                <c:pt idx="0">
                  <c:v>A1</c:v>
                </c:pt>
                <c:pt idx="1">
                  <c:v>A2</c:v>
                </c:pt>
                <c:pt idx="2">
                  <c:v>A3</c:v>
                </c:pt>
                <c:pt idx="3">
                  <c:v>A4</c:v>
                </c:pt>
                <c:pt idx="4">
                  <c:v>A5</c:v>
                </c:pt>
              </c:strCache>
            </c:strRef>
          </c:cat>
          <c:val>
            <c:numRef>
              <c:f>Sheet1!$Y$6:$Y$10</c:f>
              <c:numCache>
                <c:formatCode>General</c:formatCode>
                <c:ptCount val="5"/>
                <c:pt idx="0">
                  <c:v>0.15384615384615385</c:v>
                </c:pt>
                <c:pt idx="1">
                  <c:v>0.30769230769230771</c:v>
                </c:pt>
                <c:pt idx="2">
                  <c:v>7.6923076923076927E-2</c:v>
                </c:pt>
                <c:pt idx="3">
                  <c:v>0.15384615384615385</c:v>
                </c:pt>
                <c:pt idx="4">
                  <c:v>0.153846153846153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26-4DD8-AA8D-47561757B6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19866352"/>
        <c:axId val="284087296"/>
      </c:barChart>
      <c:catAx>
        <c:axId val="219866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84087296"/>
        <c:crosses val="autoZero"/>
        <c:auto val="1"/>
        <c:lblAlgn val="ctr"/>
        <c:lblOffset val="100"/>
        <c:noMultiLvlLbl val="0"/>
      </c:catAx>
      <c:valAx>
        <c:axId val="2840872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98663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动作值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D$6</c:f>
              <c:strCache>
                <c:ptCount val="1"/>
                <c:pt idx="0">
                  <c:v>Action Valu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E$5:$I$5</c:f>
              <c:strCache>
                <c:ptCount val="5"/>
                <c:pt idx="0">
                  <c:v>A1</c:v>
                </c:pt>
                <c:pt idx="1">
                  <c:v>A2</c:v>
                </c:pt>
                <c:pt idx="2">
                  <c:v>A3</c:v>
                </c:pt>
                <c:pt idx="3">
                  <c:v>A4</c:v>
                </c:pt>
                <c:pt idx="4">
                  <c:v>A5</c:v>
                </c:pt>
              </c:strCache>
            </c:strRef>
          </c:cat>
          <c:val>
            <c:numRef>
              <c:f>Sheet1!$E$6:$I$6</c:f>
              <c:numCache>
                <c:formatCode>General</c:formatCode>
                <c:ptCount val="5"/>
                <c:pt idx="0">
                  <c:v>1</c:v>
                </c:pt>
                <c:pt idx="1">
                  <c:v>5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D1-4E39-8594-807CF40D77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1162928"/>
        <c:axId val="597261688"/>
      </c:barChart>
      <c:catAx>
        <c:axId val="40116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97261688"/>
        <c:crosses val="autoZero"/>
        <c:auto val="1"/>
        <c:lblAlgn val="ctr"/>
        <c:lblOffset val="100"/>
        <c:noMultiLvlLbl val="0"/>
      </c:catAx>
      <c:valAx>
        <c:axId val="5972616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01162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优势函数值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D$10</c:f>
              <c:strCache>
                <c:ptCount val="1"/>
                <c:pt idx="0">
                  <c:v>Advantageous Valu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E$9:$I$9</c:f>
              <c:strCache>
                <c:ptCount val="5"/>
                <c:pt idx="0">
                  <c:v>A1</c:v>
                </c:pt>
                <c:pt idx="1">
                  <c:v>A2</c:v>
                </c:pt>
                <c:pt idx="2">
                  <c:v>A3</c:v>
                </c:pt>
                <c:pt idx="3">
                  <c:v>A4</c:v>
                </c:pt>
                <c:pt idx="4">
                  <c:v>A5</c:v>
                </c:pt>
              </c:strCache>
            </c:strRef>
          </c:cat>
          <c:val>
            <c:numRef>
              <c:f>Sheet1!$E$10:$I$10</c:f>
              <c:numCache>
                <c:formatCode>General</c:formatCode>
                <c:ptCount val="5"/>
                <c:pt idx="0">
                  <c:v>-2</c:v>
                </c:pt>
                <c:pt idx="1">
                  <c:v>2</c:v>
                </c:pt>
                <c:pt idx="2">
                  <c:v>-1</c:v>
                </c:pt>
                <c:pt idx="3">
                  <c:v>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1E-43C2-A42C-DB0E638B69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00703928"/>
        <c:axId val="700701368"/>
      </c:barChart>
      <c:catAx>
        <c:axId val="700703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00701368"/>
        <c:crosses val="autoZero"/>
        <c:auto val="1"/>
        <c:lblAlgn val="ctr"/>
        <c:lblOffset val="100"/>
        <c:noMultiLvlLbl val="0"/>
      </c:catAx>
      <c:valAx>
        <c:axId val="7007013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00703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2022/5/16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‹#›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阿里巴巴普惠体 R" panose="00020600040101010101" pitchFamily="18" charset="-122"/>
              </a:defRPr>
            </a:lvl1pPr>
          </a:lstStyle>
          <a:p>
            <a:fld id="{E86D8963-CFCD-4740-AF60-049850373CDF}" type="datetimeFigureOut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阿里巴巴普惠体 R" panose="00020600040101010101" pitchFamily="18" charset="-122"/>
              </a:defRPr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156236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3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4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制作感谢页（伯禹</a:t>
            </a:r>
            <a:r>
              <a:rPr kumimoji="1" lang="en-US" altLang="zh-CN" dirty="0"/>
              <a:t>logo+</a:t>
            </a:r>
            <a:r>
              <a:rPr kumimoji="1" lang="zh-CN" altLang="en-US" dirty="0"/>
              <a:t>打造</a:t>
            </a:r>
            <a:r>
              <a:rPr kumimoji="1" lang="en-US" altLang="zh-CN" dirty="0"/>
              <a:t>AI</a:t>
            </a:r>
            <a:r>
              <a:rPr kumimoji="1" lang="zh-CN" altLang="en-US" dirty="0"/>
              <a:t>领域的黄埔军校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5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7782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2/5/16</a:t>
            </a:fld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06D5035-281B-48A3-AAEF-370C250ED6CB}"/>
              </a:ext>
            </a:extLst>
          </p:cNvPr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E26BE868-DEDB-446D-8061-DA06019DF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  <p:extLst>
      <p:ext uri="{BB962C8B-B14F-4D97-AF65-F5344CB8AC3E}">
        <p14:creationId xmlns:p14="http://schemas.microsoft.com/office/powerpoint/2010/main" val="1027757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E10A5ED6-BA28-4AB3-9FFA-AD4263DD4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CB87EDC-97F7-4F50-A29C-7C7880825747}"/>
              </a:ext>
            </a:extLst>
          </p:cNvPr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31230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/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/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/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/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2/5/16</a:t>
            </a:fld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 userDrawn="1"/>
        </p:nvSpPr>
        <p:spPr>
          <a:xfrm>
            <a:off x="2983768" y="2782669"/>
            <a:ext cx="33394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00B0F0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THANK YOU</a:t>
            </a:r>
            <a:endParaRPr lang="zh-CN" altLang="en-US" sz="3600" b="1" dirty="0">
              <a:solidFill>
                <a:srgbClr val="00B0F0"/>
              </a:solidFill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186431" y="896645"/>
            <a:ext cx="8708994" cy="355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BCA9E9A2-5D3E-4A6D-98CA-FAD6AF8F5F4B}"/>
              </a:ext>
            </a:extLst>
          </p:cNvPr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29204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D0851EE6-6491-074F-9A62-4AE5D275B554}"/>
              </a:ext>
            </a:extLst>
          </p:cNvPr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F8FCD97E-1210-8E49-A3E6-087A08B4628B}"/>
              </a:ext>
            </a:extLst>
          </p:cNvPr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1EBC602-977D-2E4D-936A-A720A33E5F5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6F59A00-FC52-814E-A4FA-34A355682DE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1F8E2B3-1AF5-E344-9FEB-7D9BBB6B1F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14E4CE0-1183-7E42-9C8E-632D338645F6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9537913-5FDE-4740-ACDA-21BC9AFC23D4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2D1555A-987F-1743-9074-0F1426D22CFF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40BCFD9-ACBE-844E-8E38-48C32DA5031A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DE7C2FB-9784-AB48-823F-3E3087D8251E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17A7512E-A300-6949-8394-88CC02088232}"/>
              </a:ext>
            </a:extLst>
          </p:cNvPr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9635D535-85FB-5F46-8B39-8C156F6830C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96278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7F031BF2-35C7-4895-855F-57C2A3F4CC89}"/>
              </a:ext>
            </a:extLst>
          </p:cNvPr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83BB3B47-2B46-D249-B092-A9CCE28AAB2F}"/>
              </a:ext>
            </a:extLst>
          </p:cNvPr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CF3102EB-F9B9-1143-9E23-3112F527DD90}"/>
              </a:ext>
            </a:extLst>
          </p:cNvPr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4D84D06-D058-6E4F-822A-0988906D4DD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61A469E-ED3F-5643-941D-D33FA4BF16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023EE441-02DB-0A49-B917-B01072C76C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4029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t>2022/5/16</a:t>
            </a:fld>
            <a:endParaRPr lang="zh-CN" altLang="en-US" dirty="0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</p:sldLayoutIdLs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pPr/>
              <a:t>2022/5/16</a:t>
            </a:fld>
            <a:endParaRPr lang="zh-CN" altLang="en-US" dirty="0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4970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2" r:id="rId4"/>
    <p:sldLayoutId id="2147483683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pos="5440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7" Type="http://schemas.openxmlformats.org/officeDocument/2006/relationships/image" Target="../media/image1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6.png"/><Relationship Id="rId5" Type="http://schemas.openxmlformats.org/officeDocument/2006/relationships/image" Target="../media/image4.png"/><Relationship Id="rId4" Type="http://schemas.openxmlformats.org/officeDocument/2006/relationships/image" Target="../media/image15.png"/><Relationship Id="rId9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7" Type="http://schemas.openxmlformats.org/officeDocument/2006/relationships/image" Target="../media/image2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0.png"/><Relationship Id="rId10" Type="http://schemas.openxmlformats.org/officeDocument/2006/relationships/image" Target="../media/image28.png"/><Relationship Id="rId9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7.png"/><Relationship Id="rId4" Type="http://schemas.openxmlformats.org/officeDocument/2006/relationships/image" Target="../media/image31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7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9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61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0.png"/><Relationship Id="rId7" Type="http://schemas.openxmlformats.org/officeDocument/2006/relationships/image" Target="../media/image39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0.png"/><Relationship Id="rId5" Type="http://schemas.openxmlformats.org/officeDocument/2006/relationships/image" Target="../media/image370.png"/><Relationship Id="rId10" Type="http://schemas.openxmlformats.org/officeDocument/2006/relationships/image" Target="../media/image420.png"/><Relationship Id="rId9" Type="http://schemas.openxmlformats.org/officeDocument/2006/relationships/image" Target="../media/image410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1.gif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70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6" Type="http://schemas.openxmlformats.org/officeDocument/2006/relationships/chart" Target="../charts/chart1.xml"/><Relationship Id="rId11" Type="http://schemas.openxmlformats.org/officeDocument/2006/relationships/image" Target="../media/image110.png"/><Relationship Id="rId5" Type="http://schemas.openxmlformats.org/officeDocument/2006/relationships/image" Target="../media/image80.png"/><Relationship Id="rId10" Type="http://schemas.openxmlformats.org/officeDocument/2006/relationships/image" Target="../media/image101.png"/><Relationship Id="rId9" Type="http://schemas.openxmlformats.org/officeDocument/2006/relationships/image" Target="../media/image900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21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40.png"/><Relationship Id="rId4" Type="http://schemas.openxmlformats.org/officeDocument/2006/relationships/image" Target="../media/image130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5" Type="http://schemas.openxmlformats.org/officeDocument/2006/relationships/hyperlink" Target="https://hrl.boyuai.com/chapter/2/%E7%AD%96%E7%95%A5%E6%A2%AF%E5%BA%A6%E7%AE%97%E6%B3%95/" TargetMode="External"/><Relationship Id="rId4" Type="http://schemas.openxmlformats.org/officeDocument/2006/relationships/image" Target="../media/image16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0.png"/><Relationship Id="rId2" Type="http://schemas.openxmlformats.org/officeDocument/2006/relationships/image" Target="../media/image300.png"/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60.png"/><Relationship Id="rId2" Type="http://schemas.openxmlformats.org/officeDocument/2006/relationships/image" Target="../media/image33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9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7" Type="http://schemas.openxmlformats.org/officeDocument/2006/relationships/image" Target="../media/image36.jpg"/><Relationship Id="rId2" Type="http://schemas.openxmlformats.org/officeDocument/2006/relationships/image" Target="../media/image35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800.png"/><Relationship Id="rId5" Type="http://schemas.openxmlformats.org/officeDocument/2006/relationships/image" Target="../media/image71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image" Target="../media/image1000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90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2.xml"/><Relationship Id="rId6" Type="http://schemas.openxmlformats.org/officeDocument/2006/relationships/image" Target="../media/image120.png"/><Relationship Id="rId5" Type="http://schemas.openxmlformats.org/officeDocument/2006/relationships/image" Target="../media/image141.pn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0.png"/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7" Type="http://schemas.openxmlformats.org/officeDocument/2006/relationships/image" Target="../media/image13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2.png"/><Relationship Id="rId5" Type="http://schemas.openxmlformats.org/officeDocument/2006/relationships/image" Target="../media/image4.png"/><Relationship Id="rId4" Type="http://schemas.openxmlformats.org/officeDocument/2006/relationships/image" Target="../media/image10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317728" y="4053047"/>
            <a:ext cx="62095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价值和策略近似逼近方法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3115"/>
            <a:ext cx="5885155" cy="36830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2A218AF-4E0B-46A9-B4FA-11ABC544612C}"/>
              </a:ext>
            </a:extLst>
          </p:cNvPr>
          <p:cNvSpPr txBox="1"/>
          <p:nvPr/>
        </p:nvSpPr>
        <p:spPr>
          <a:xfrm>
            <a:off x="2317728" y="730136"/>
            <a:ext cx="58873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强化学习</a:t>
            </a:r>
            <a:r>
              <a:rPr lang="en-US" altLang="zh-CN" sz="28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2022</a:t>
            </a:r>
            <a:endParaRPr lang="en-US" altLang="zh-CN" sz="28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第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6</a:t>
            </a:r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节</a:t>
            </a:r>
            <a:endParaRPr lang="zh-CN" altLang="en-US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61290B1-B0B9-4B1B-9B40-8F86C1E93176}"/>
              </a:ext>
            </a:extLst>
          </p:cNvPr>
          <p:cNvSpPr txBox="1"/>
          <p:nvPr/>
        </p:nvSpPr>
        <p:spPr>
          <a:xfrm>
            <a:off x="2324816" y="1785532"/>
            <a:ext cx="549214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涉及知识点：</a:t>
            </a:r>
            <a:endParaRPr lang="en-US" altLang="zh-CN" sz="32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参数化值函数近似、状态值函数与状态</a:t>
            </a:r>
            <a:r>
              <a:rPr lang="en-US" altLang="zh-CN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-</a:t>
            </a: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动作值、函数近似、策略梯度、</a:t>
            </a:r>
            <a:r>
              <a:rPr lang="en-US" altLang="zh-CN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ctor-Critic</a:t>
            </a:r>
          </a:p>
        </p:txBody>
      </p:sp>
    </p:spTree>
    <p:extLst>
      <p:ext uri="{BB962C8B-B14F-4D97-AF65-F5344CB8AC3E}">
        <p14:creationId xmlns:p14="http://schemas.microsoft.com/office/powerpoint/2010/main" val="17087458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对大型马尔可夫决策过程分桶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3" y="1664093"/>
            <a:ext cx="4563674" cy="41636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于一个大型的离散状态马尔可夫决策过程，我们可以对状态值进一步分桶以进行采样聚合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用先验知识将相似的离散状态归类到一起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2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例如，利用根据先验知识抽取出来的状态特征对状态进行聚类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73174AF-642D-4425-8DCB-8B73DBF3530B}"/>
              </a:ext>
            </a:extLst>
          </p:cNvPr>
          <p:cNvGrpSpPr/>
          <p:nvPr/>
        </p:nvGrpSpPr>
        <p:grpSpPr>
          <a:xfrm>
            <a:off x="5446317" y="1945640"/>
            <a:ext cx="3194048" cy="2966720"/>
            <a:chOff x="7546976" y="2270164"/>
            <a:chExt cx="3194048" cy="2966720"/>
          </a:xfrm>
        </p:grpSpPr>
        <p:graphicFrame>
          <p:nvGraphicFramePr>
            <p:cNvPr id="14" name="内容占位符 3">
              <a:extLst>
                <a:ext uri="{FF2B5EF4-FFF2-40B4-BE49-F238E27FC236}">
                  <a16:creationId xmlns:a16="http://schemas.microsoft.com/office/drawing/2014/main" id="{1B6565D2-29E5-4CAD-B3A3-98D3E0D3EAEE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7546976" y="2270164"/>
            <a:ext cx="3194048" cy="2966720"/>
          </p:xfrm>
          <a:graphic>
            <a:graphicData uri="http://schemas.openxmlformats.org/drawingml/2006/table">
              <a:tbl>
                <a:tblPr bandRow="1">
                  <a:tableStyleId>{5C22544A-7EE6-4342-B048-85BDC9FD1C3A}</a:tableStyleId>
                </a:tblPr>
                <a:tblGrid>
                  <a:gridCol w="399256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399256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399256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  <a:gridCol w="399256">
                    <a:extLst>
                      <a:ext uri="{9D8B030D-6E8A-4147-A177-3AD203B41FA5}">
                        <a16:colId xmlns:a16="http://schemas.microsoft.com/office/drawing/2014/main" val="20003"/>
                      </a:ext>
                    </a:extLst>
                  </a:gridCol>
                  <a:gridCol w="399256">
                    <a:extLst>
                      <a:ext uri="{9D8B030D-6E8A-4147-A177-3AD203B41FA5}">
                        <a16:colId xmlns:a16="http://schemas.microsoft.com/office/drawing/2014/main" val="20004"/>
                      </a:ext>
                    </a:extLst>
                  </a:gridCol>
                  <a:gridCol w="399256">
                    <a:extLst>
                      <a:ext uri="{9D8B030D-6E8A-4147-A177-3AD203B41FA5}">
                        <a16:colId xmlns:a16="http://schemas.microsoft.com/office/drawing/2014/main" val="20005"/>
                      </a:ext>
                    </a:extLst>
                  </a:gridCol>
                  <a:gridCol w="399256">
                    <a:extLst>
                      <a:ext uri="{9D8B030D-6E8A-4147-A177-3AD203B41FA5}">
                        <a16:colId xmlns:a16="http://schemas.microsoft.com/office/drawing/2014/main" val="20006"/>
                      </a:ext>
                    </a:extLst>
                  </a:gridCol>
                  <a:gridCol w="399256">
                    <a:extLst>
                      <a:ext uri="{9D8B030D-6E8A-4147-A177-3AD203B41FA5}">
                        <a16:colId xmlns:a16="http://schemas.microsoft.com/office/drawing/2014/main" val="20007"/>
                      </a:ext>
                    </a:extLst>
                  </a:gridCol>
                </a:tblGrid>
                <a:tr h="370840">
                  <a:tc>
                    <a:txBody>
                      <a:bodyPr/>
                      <a:lstStyle/>
                      <a:p>
                        <a:endParaRPr lang="en-US" dirty="0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 dirty="0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 dirty="0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 dirty="0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370840"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370840"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370840"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  <a:tr h="370840"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 dirty="0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extLst>
                    <a:ext uri="{0D108BD9-81ED-4DB2-BD59-A6C34878D82A}">
                      <a16:rowId xmlns:a16="http://schemas.microsoft.com/office/drawing/2014/main" val="10004"/>
                    </a:ext>
                  </a:extLst>
                </a:tr>
                <a:tr h="370840"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 dirty="0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extLst>
                    <a:ext uri="{0D108BD9-81ED-4DB2-BD59-A6C34878D82A}">
                      <a16:rowId xmlns:a16="http://schemas.microsoft.com/office/drawing/2014/main" val="10005"/>
                    </a:ext>
                  </a:extLst>
                </a:tr>
                <a:tr h="370840"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 dirty="0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extLst>
                    <a:ext uri="{0D108BD9-81ED-4DB2-BD59-A6C34878D82A}">
                      <a16:rowId xmlns:a16="http://schemas.microsoft.com/office/drawing/2014/main" val="10006"/>
                    </a:ext>
                  </a:extLst>
                </a:tr>
                <a:tr h="370840"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 dirty="0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endParaRPr lang="en-US" dirty="0"/>
                      </a:p>
                    </a:txBody>
                    <a:tcPr/>
                  </a:tc>
                  <a:extLst>
                    <a:ext uri="{0D108BD9-81ED-4DB2-BD59-A6C34878D82A}">
                      <a16:rowId xmlns:a16="http://schemas.microsoft.com/office/drawing/2014/main" val="10007"/>
                    </a:ext>
                  </a:extLst>
                </a:tr>
              </a:tbl>
            </a:graphicData>
          </a:graphic>
        </p:graphicFrame>
        <p:grpSp>
          <p:nvGrpSpPr>
            <p:cNvPr id="15" name="组合 13">
              <a:extLst>
                <a:ext uri="{FF2B5EF4-FFF2-40B4-BE49-F238E27FC236}">
                  <a16:creationId xmlns:a16="http://schemas.microsoft.com/office/drawing/2014/main" id="{81EE7EAB-47E8-44D2-B96E-1B2CFF3363D2}"/>
                </a:ext>
              </a:extLst>
            </p:cNvPr>
            <p:cNvGrpSpPr/>
            <p:nvPr/>
          </p:nvGrpSpPr>
          <p:grpSpPr>
            <a:xfrm>
              <a:off x="7546976" y="2270164"/>
              <a:ext cx="3194048" cy="2966720"/>
              <a:chOff x="5321302" y="1932577"/>
              <a:chExt cx="3194048" cy="2966720"/>
            </a:xfrm>
          </p:grpSpPr>
          <p:sp>
            <p:nvSpPr>
              <p:cNvPr id="16" name="矩形 4">
                <a:extLst>
                  <a:ext uri="{FF2B5EF4-FFF2-40B4-BE49-F238E27FC236}">
                    <a16:creationId xmlns:a16="http://schemas.microsoft.com/office/drawing/2014/main" id="{277248E4-3FB4-4662-ADE7-E7B1D67EA074}"/>
                  </a:ext>
                </a:extLst>
              </p:cNvPr>
              <p:cNvSpPr/>
              <p:nvPr/>
            </p:nvSpPr>
            <p:spPr>
              <a:xfrm>
                <a:off x="5321302" y="1932577"/>
                <a:ext cx="3194048" cy="2966720"/>
              </a:xfrm>
              <a:prstGeom prst="rect">
                <a:avLst/>
              </a:prstGeom>
              <a:noFill/>
              <a:ln w="571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7" name="直接连接符 6">
                <a:extLst>
                  <a:ext uri="{FF2B5EF4-FFF2-40B4-BE49-F238E27FC236}">
                    <a16:creationId xmlns:a16="http://schemas.microsoft.com/office/drawing/2014/main" id="{2E1FDE6F-2389-4E2E-9126-DE94EC51ED90}"/>
                  </a:ext>
                </a:extLst>
              </p:cNvPr>
              <p:cNvCxnSpPr/>
              <p:nvPr/>
            </p:nvCxnSpPr>
            <p:spPr>
              <a:xfrm>
                <a:off x="5321302" y="2666999"/>
                <a:ext cx="3194048" cy="0"/>
              </a:xfrm>
              <a:prstGeom prst="line">
                <a:avLst/>
              </a:prstGeom>
              <a:ln w="571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7">
                <a:extLst>
                  <a:ext uri="{FF2B5EF4-FFF2-40B4-BE49-F238E27FC236}">
                    <a16:creationId xmlns:a16="http://schemas.microsoft.com/office/drawing/2014/main" id="{676E4E95-5333-4774-AF69-B54EDEC2731D}"/>
                  </a:ext>
                </a:extLst>
              </p:cNvPr>
              <p:cNvCxnSpPr/>
              <p:nvPr/>
            </p:nvCxnSpPr>
            <p:spPr>
              <a:xfrm>
                <a:off x="5321302" y="3415937"/>
                <a:ext cx="3194048" cy="0"/>
              </a:xfrm>
              <a:prstGeom prst="line">
                <a:avLst/>
              </a:prstGeom>
              <a:ln w="571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直接连接符 8">
                <a:extLst>
                  <a:ext uri="{FF2B5EF4-FFF2-40B4-BE49-F238E27FC236}">
                    <a16:creationId xmlns:a16="http://schemas.microsoft.com/office/drawing/2014/main" id="{F68A82B2-45B0-44BD-88A7-B7CC0D4CCA03}"/>
                  </a:ext>
                </a:extLst>
              </p:cNvPr>
              <p:cNvCxnSpPr/>
              <p:nvPr/>
            </p:nvCxnSpPr>
            <p:spPr>
              <a:xfrm>
                <a:off x="5321302" y="4158887"/>
                <a:ext cx="3194048" cy="0"/>
              </a:xfrm>
              <a:prstGeom prst="line">
                <a:avLst/>
              </a:prstGeom>
              <a:ln w="571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直接连接符 10">
                <a:extLst>
                  <a:ext uri="{FF2B5EF4-FFF2-40B4-BE49-F238E27FC236}">
                    <a16:creationId xmlns:a16="http://schemas.microsoft.com/office/drawing/2014/main" id="{4EACF0BA-1C54-4B59-A9F8-BF293050D54A}"/>
                  </a:ext>
                </a:extLst>
              </p:cNvPr>
              <p:cNvCxnSpPr/>
              <p:nvPr/>
            </p:nvCxnSpPr>
            <p:spPr>
              <a:xfrm>
                <a:off x="6119814" y="1932577"/>
                <a:ext cx="0" cy="2966720"/>
              </a:xfrm>
              <a:prstGeom prst="line">
                <a:avLst/>
              </a:prstGeom>
              <a:ln w="571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11">
                <a:extLst>
                  <a:ext uri="{FF2B5EF4-FFF2-40B4-BE49-F238E27FC236}">
                    <a16:creationId xmlns:a16="http://schemas.microsoft.com/office/drawing/2014/main" id="{8E47EDF7-645A-47FA-9C2E-C5321E20AE2C}"/>
                  </a:ext>
                </a:extLst>
              </p:cNvPr>
              <p:cNvCxnSpPr/>
              <p:nvPr/>
            </p:nvCxnSpPr>
            <p:spPr>
              <a:xfrm>
                <a:off x="6913565" y="1932577"/>
                <a:ext cx="0" cy="2966720"/>
              </a:xfrm>
              <a:prstGeom prst="line">
                <a:avLst/>
              </a:prstGeom>
              <a:ln w="571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接连接符 12">
                <a:extLst>
                  <a:ext uri="{FF2B5EF4-FFF2-40B4-BE49-F238E27FC236}">
                    <a16:creationId xmlns:a16="http://schemas.microsoft.com/office/drawing/2014/main" id="{3C3B84A7-59F7-4F6E-96AC-D4C71DAF5AA1}"/>
                  </a:ext>
                </a:extLst>
              </p:cNvPr>
              <p:cNvCxnSpPr/>
              <p:nvPr/>
            </p:nvCxnSpPr>
            <p:spPr>
              <a:xfrm>
                <a:off x="7708903" y="1932577"/>
                <a:ext cx="0" cy="2966720"/>
              </a:xfrm>
              <a:prstGeom prst="line">
                <a:avLst/>
              </a:prstGeom>
              <a:ln w="571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666499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0870"/>
    </mc:Choice>
    <mc:Fallback xmlns="">
      <p:transition advTm="3087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离散化</a:t>
            </a:r>
            <a:r>
              <a:rPr lang="en-US" altLang="zh-CN" dirty="0"/>
              <a:t>/</a:t>
            </a:r>
            <a:r>
              <a:rPr lang="zh-CN" altLang="en-US" dirty="0"/>
              <a:t>分桶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4839127" cy="460772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优点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操作简洁直观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高效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处理许多问题时能够达到较好效果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缺点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过于简单地表示价值函数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可能为每个离散区间假设一个常数值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维度灾难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</a:t>
                </a:r>
                <a14:m>
                  <m:oMath xmlns:m="http://schemas.openxmlformats.org/officeDocument/2006/math">
                    <m:r>
                      <a:rPr lang="en-US" altLang="zh-CN" b="0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𝑆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=</m:t>
                    </m:r>
                    <m:sSup>
                      <m:sSup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𝑅</m:t>
                        </m:r>
                      </m:e>
                      <m:sup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𝑛</m:t>
                        </m:r>
                      </m:sup>
                    </m:sSup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⇒</m:t>
                    </m:r>
                    <m:acc>
                      <m:accPr>
                        <m:chr m:val="̅"/>
                        <m:ctrlPr>
                          <a:rPr lang="en-US" altLang="zh-CN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acc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𝑆</m:t>
                        </m:r>
                      </m:e>
                    </m:acc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=</m:t>
                    </m:r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pPr>
                      <m:e>
                        <m:d>
                          <m:dPr>
                            <m:begChr m:val="{"/>
                            <m:endChr m:val="}"/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1, …, 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𝑘</m:t>
                            </m:r>
                          </m:e>
                        </m:d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𝑛</m:t>
                        </m:r>
                      </m:sup>
                    </m:sSup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4839127" cy="4607722"/>
              </a:xfrm>
              <a:prstGeom prst="rect">
                <a:avLst/>
              </a:prstGeom>
              <a:blipFill>
                <a:blip r:embed="rId4"/>
                <a:stretch>
                  <a:fillRect l="-75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5" name="Group 14">
            <a:extLst>
              <a:ext uri="{FF2B5EF4-FFF2-40B4-BE49-F238E27FC236}">
                <a16:creationId xmlns:a16="http://schemas.microsoft.com/office/drawing/2014/main" id="{36AC4F71-B31A-4E88-BE51-E8F54FBDA289}"/>
              </a:ext>
            </a:extLst>
          </p:cNvPr>
          <p:cNvGrpSpPr/>
          <p:nvPr/>
        </p:nvGrpSpPr>
        <p:grpSpPr>
          <a:xfrm>
            <a:off x="5499205" y="1332080"/>
            <a:ext cx="2780003" cy="2593434"/>
            <a:chOff x="4905067" y="1871546"/>
            <a:chExt cx="3487464" cy="3253417"/>
          </a:xfrm>
        </p:grpSpPr>
        <p:pic>
          <p:nvPicPr>
            <p:cNvPr id="8" name="图片 3">
              <a:extLst>
                <a:ext uri="{FF2B5EF4-FFF2-40B4-BE49-F238E27FC236}">
                  <a16:creationId xmlns:a16="http://schemas.microsoft.com/office/drawing/2014/main" id="{47BB2DF0-9DF3-447D-B94B-6380CBDCF80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341569" y="1871546"/>
              <a:ext cx="3050962" cy="2877468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0C90847A-578D-497D-A56C-F594C885904E}"/>
                    </a:ext>
                  </a:extLst>
                </p:cNvPr>
                <p:cNvSpPr txBox="1"/>
                <p:nvPr/>
              </p:nvSpPr>
              <p:spPr>
                <a:xfrm>
                  <a:off x="6518801" y="3272316"/>
                  <a:ext cx="360933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̅"/>
                            <m:ctrlPr>
                              <a:rPr lang="en-US" altLang="zh-CN" b="0" i="1" dirty="0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zh-CN" b="0" i="1" dirty="0" smtClean="0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acc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0C90847A-578D-497D-A56C-F594C885904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18801" y="3272316"/>
                  <a:ext cx="360933" cy="369332"/>
                </a:xfrm>
                <a:prstGeom prst="rect">
                  <a:avLst/>
                </a:prstGeom>
                <a:blipFill>
                  <a:blip r:embed="rId6"/>
                  <a:stretch>
                    <a:fillRect r="-17021" b="-1041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580506F9-38D6-4F85-A838-019B71D4401A}"/>
                    </a:ext>
                  </a:extLst>
                </p:cNvPr>
                <p:cNvSpPr txBox="1"/>
                <p:nvPr/>
              </p:nvSpPr>
              <p:spPr>
                <a:xfrm>
                  <a:off x="6767010" y="4755631"/>
                  <a:ext cx="462498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580506F9-38D6-4F85-A838-019B71D4401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767010" y="4755631"/>
                  <a:ext cx="462498" cy="369332"/>
                </a:xfrm>
                <a:prstGeom prst="rect">
                  <a:avLst/>
                </a:prstGeom>
                <a:blipFill>
                  <a:blip r:embed="rId7"/>
                  <a:stretch>
                    <a:fillRect b="-27083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05DB5EFB-A4A7-4285-8D67-31B07E9586B6}"/>
                    </a:ext>
                  </a:extLst>
                </p:cNvPr>
                <p:cNvSpPr txBox="1"/>
                <p:nvPr/>
              </p:nvSpPr>
              <p:spPr>
                <a:xfrm>
                  <a:off x="4905067" y="3125614"/>
                  <a:ext cx="467820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05DB5EFB-A4A7-4285-8D67-31B07E9586B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905067" y="3125614"/>
                  <a:ext cx="467820" cy="369332"/>
                </a:xfrm>
                <a:prstGeom prst="rect">
                  <a:avLst/>
                </a:prstGeom>
                <a:blipFill>
                  <a:blip r:embed="rId8"/>
                  <a:stretch>
                    <a:fillRect b="-27083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pic>
        <p:nvPicPr>
          <p:cNvPr id="16" name="图片 12">
            <a:extLst>
              <a:ext uri="{FF2B5EF4-FFF2-40B4-BE49-F238E27FC236}">
                <a16:creationId xmlns:a16="http://schemas.microsoft.com/office/drawing/2014/main" id="{746CC01A-95FA-4600-8F36-1D7EDB5CDF7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73452" y="4019827"/>
            <a:ext cx="2619969" cy="2076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695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91690"/>
    </mc:Choice>
    <mc:Fallback xmlns="">
      <p:transition advTm="9169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参数化</a:t>
            </a:r>
            <a:br>
              <a:rPr kumimoji="1" lang="en-US" altLang="zh-CN" dirty="0"/>
            </a:br>
            <a:r>
              <a:rPr kumimoji="1" lang="zh-CN" altLang="en-US" dirty="0"/>
              <a:t>价值函数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6580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1084"/>
    </mc:Choice>
    <mc:Fallback xmlns="">
      <p:transition advTm="11084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参数化值函数近似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构建参数化（可学习的）函数来近似值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≃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𝑉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𝑎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≃</m:t>
                      </m:r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阿里巴巴普惠体 R" panose="00020600040101010101" pitchFamily="18" charset="-122"/>
                        </a:rPr>
                        <m:t>,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阿里巴巴普惠体 R" panose="00020600040101010101" pitchFamily="18" charset="-122"/>
                        </a:rPr>
                        <m:t>𝑎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  <a:blipFill>
                <a:blip r:embed="rId4"/>
                <a:stretch>
                  <a:fillRect l="-431" t="-6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内容占位符 2">
                <a:extLst>
                  <a:ext uri="{FF2B5EF4-FFF2-40B4-BE49-F238E27FC236}">
                    <a16:creationId xmlns:a16="http://schemas.microsoft.com/office/drawing/2014/main" id="{ECF5D663-6C66-4ECB-96EE-F7EF9617A06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6555" y="3090528"/>
                <a:ext cx="8487445" cy="303356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US" altLang="zh-CN" sz="20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Calibri" panose="020F0502020204030204" pitchFamily="34" charset="0"/>
                      </a:rPr>
                      <m:t>𝜃</m:t>
                    </m:r>
                  </m:oMath>
                </a14:m>
                <a:r>
                  <a:rPr lang="zh-CN" altLang="en-US" sz="2000" dirty="0">
                    <a:latin typeface="Calibri" panose="020F0502020204030204" pitchFamily="34" charset="0"/>
                    <a:ea typeface="阿里巴巴普惠体 R" panose="00020600040101010101" pitchFamily="18" charset="-122"/>
                    <a:cs typeface="Calibri" panose="020F0502020204030204" pitchFamily="34" charset="0"/>
                  </a:rPr>
                  <a:t>是近似函数的参数，可以通过强化学习进行更新</a:t>
                </a:r>
                <a:endParaRPr lang="en-US" altLang="zh-CN" sz="2000" dirty="0">
                  <a:latin typeface="Calibri" panose="020F0502020204030204" pitchFamily="34" charset="0"/>
                  <a:ea typeface="阿里巴巴普惠体 R" panose="00020600040101010101" pitchFamily="18" charset="-122"/>
                  <a:cs typeface="Calibri" panose="020F0502020204030204" pitchFamily="34" charset="0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sz="2000" dirty="0">
                    <a:latin typeface="Calibri" panose="020F0502020204030204" pitchFamily="34" charset="0"/>
                    <a:ea typeface="阿里巴巴普惠体 R" panose="00020600040101010101" pitchFamily="18" charset="-122"/>
                    <a:cs typeface="Calibri" panose="020F0502020204030204" pitchFamily="34" charset="0"/>
                  </a:rPr>
                  <a:t>参数化的方法将现有可见的状态泛化到没有见过的状态上</a:t>
                </a:r>
                <a:endParaRPr lang="en-US" altLang="zh-CN" sz="2000" dirty="0">
                  <a:latin typeface="Calibri" panose="020F0502020204030204" pitchFamily="34" charset="0"/>
                  <a:ea typeface="阿里巴巴普惠体 R" panose="00020600040101010101" pitchFamily="18" charset="-122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6" name="内容占位符 2">
                <a:extLst>
                  <a:ext uri="{FF2B5EF4-FFF2-40B4-BE49-F238E27FC236}">
                    <a16:creationId xmlns:a16="http://schemas.microsoft.com/office/drawing/2014/main" id="{ECF5D663-6C66-4ECB-96EE-F7EF9617A06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555" y="3090528"/>
                <a:ext cx="8487445" cy="303356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79831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96685"/>
    </mc:Choice>
    <mc:Fallback xmlns="">
      <p:transition advTm="96685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值函数近似的主要形式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111087" y="1734234"/>
            <a:ext cx="3728111" cy="4506230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一些函数近似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（一般的）线性模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神经网络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决策树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最近邻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傅立叶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/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小波基底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可微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（一般的）线性模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神经网络</a:t>
            </a: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我们希望模型适合在非稳态的，非独立同分布的数据上训练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因此参数化模型比树模型更适合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DA1AFEE-063F-4E01-8116-579451A33C44}"/>
              </a:ext>
            </a:extLst>
          </p:cNvPr>
          <p:cNvGrpSpPr/>
          <p:nvPr/>
        </p:nvGrpSpPr>
        <p:grpSpPr>
          <a:xfrm>
            <a:off x="304802" y="1734234"/>
            <a:ext cx="4267198" cy="3800696"/>
            <a:chOff x="304802" y="1734234"/>
            <a:chExt cx="4267198" cy="3800696"/>
          </a:xfrm>
        </p:grpSpPr>
        <p:pic>
          <p:nvPicPr>
            <p:cNvPr id="7" name="内容占位符 7">
              <a:extLst>
                <a:ext uri="{FF2B5EF4-FFF2-40B4-BE49-F238E27FC236}">
                  <a16:creationId xmlns:a16="http://schemas.microsoft.com/office/drawing/2014/main" id="{C675C9A4-0E18-47FD-8CAF-DFDDE6D2850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04802" y="2157626"/>
              <a:ext cx="4267198" cy="3377304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Rectangle 7">
                  <a:extLst>
                    <a:ext uri="{FF2B5EF4-FFF2-40B4-BE49-F238E27FC236}">
                      <a16:creationId xmlns:a16="http://schemas.microsoft.com/office/drawing/2014/main" id="{88FCE6A3-A7D7-4FFD-9065-BABCB31F9EE3}"/>
                    </a:ext>
                  </a:extLst>
                </p:cNvPr>
                <p:cNvSpPr/>
                <p:nvPr/>
              </p:nvSpPr>
              <p:spPr>
                <a:xfrm>
                  <a:off x="826362" y="1734234"/>
                  <a:ext cx="788806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CN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𝑉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8" name="Rectangle 7">
                  <a:extLst>
                    <a:ext uri="{FF2B5EF4-FFF2-40B4-BE49-F238E27FC236}">
                      <a16:creationId xmlns:a16="http://schemas.microsoft.com/office/drawing/2014/main" id="{88FCE6A3-A7D7-4FFD-9065-BABCB31F9EE3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26362" y="1734234"/>
                  <a:ext cx="788806" cy="369332"/>
                </a:xfrm>
                <a:prstGeom prst="rect">
                  <a:avLst/>
                </a:prstGeom>
                <a:blipFill>
                  <a:blip r:embed="rId5"/>
                  <a:stretch>
                    <a:fillRect b="-14754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28FAF742-06A1-4CC8-B2A3-49BA94B7B6F0}"/>
                    </a:ext>
                  </a:extLst>
                </p:cNvPr>
                <p:cNvSpPr/>
                <p:nvPr/>
              </p:nvSpPr>
              <p:spPr>
                <a:xfrm>
                  <a:off x="3237418" y="1734234"/>
                  <a:ext cx="1043812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CN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𝑄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)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28FAF742-06A1-4CC8-B2A3-49BA94B7B6F0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237418" y="1734234"/>
                  <a:ext cx="1043812" cy="369332"/>
                </a:xfrm>
                <a:prstGeom prst="rect">
                  <a:avLst/>
                </a:prstGeom>
                <a:blipFill>
                  <a:blip r:embed="rId6"/>
                  <a:stretch>
                    <a:fillRect b="-14754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9A573C50-F727-4AF5-A612-701498F3809D}"/>
                    </a:ext>
                  </a:extLst>
                </p:cNvPr>
                <p:cNvSpPr/>
                <p:nvPr/>
              </p:nvSpPr>
              <p:spPr>
                <a:xfrm>
                  <a:off x="1028084" y="4013385"/>
                  <a:ext cx="385362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9A573C50-F727-4AF5-A612-701498F3809D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28084" y="4013385"/>
                  <a:ext cx="385362" cy="369332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8D96F056-DCF5-4749-8B3A-AFD6FD2138BA}"/>
                    </a:ext>
                  </a:extLst>
                </p:cNvPr>
                <p:cNvSpPr/>
                <p:nvPr/>
              </p:nvSpPr>
              <p:spPr>
                <a:xfrm>
                  <a:off x="3504796" y="4013385"/>
                  <a:ext cx="385362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8D96F056-DCF5-4749-8B3A-AFD6FD2138BA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04796" y="4013385"/>
                  <a:ext cx="385362" cy="369332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8">
                <a:extLst>
                  <a:ext uri="{FF2B5EF4-FFF2-40B4-BE49-F238E27FC236}">
                    <a16:creationId xmlns:a16="http://schemas.microsoft.com/office/drawing/2014/main" id="{B2807DEB-879A-445E-9D4B-3946801EA64F}"/>
                  </a:ext>
                </a:extLst>
              </p:cNvPr>
              <p:cNvSpPr/>
              <p:nvPr/>
            </p:nvSpPr>
            <p:spPr>
              <a:xfrm>
                <a:off x="3109980" y="5525447"/>
                <a:ext cx="36093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𝑠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3" name="Rectangle 8">
                <a:extLst>
                  <a:ext uri="{FF2B5EF4-FFF2-40B4-BE49-F238E27FC236}">
                    <a16:creationId xmlns:a16="http://schemas.microsoft.com/office/drawing/2014/main" id="{B2807DEB-879A-445E-9D4B-3946801EA64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09980" y="5525447"/>
                <a:ext cx="360933" cy="36933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8">
                <a:extLst>
                  <a:ext uri="{FF2B5EF4-FFF2-40B4-BE49-F238E27FC236}">
                    <a16:creationId xmlns:a16="http://schemas.microsoft.com/office/drawing/2014/main" id="{486C7AA9-14EB-4952-8079-8ACB02F8C172}"/>
                  </a:ext>
                </a:extLst>
              </p:cNvPr>
              <p:cNvSpPr/>
              <p:nvPr/>
            </p:nvSpPr>
            <p:spPr>
              <a:xfrm>
                <a:off x="3898561" y="5534930"/>
                <a:ext cx="38266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𝑎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4" name="Rectangle 8">
                <a:extLst>
                  <a:ext uri="{FF2B5EF4-FFF2-40B4-BE49-F238E27FC236}">
                    <a16:creationId xmlns:a16="http://schemas.microsoft.com/office/drawing/2014/main" id="{486C7AA9-14EB-4952-8079-8ACB02F8C17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8561" y="5534930"/>
                <a:ext cx="382669" cy="369332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8">
                <a:extLst>
                  <a:ext uri="{FF2B5EF4-FFF2-40B4-BE49-F238E27FC236}">
                    <a16:creationId xmlns:a16="http://schemas.microsoft.com/office/drawing/2014/main" id="{2242D542-DF57-413C-88A6-0D45AD657F27}"/>
                  </a:ext>
                </a:extLst>
              </p:cNvPr>
              <p:cNvSpPr/>
              <p:nvPr/>
            </p:nvSpPr>
            <p:spPr>
              <a:xfrm>
                <a:off x="1010856" y="5525447"/>
                <a:ext cx="36093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𝑠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5" name="Rectangle 8">
                <a:extLst>
                  <a:ext uri="{FF2B5EF4-FFF2-40B4-BE49-F238E27FC236}">
                    <a16:creationId xmlns:a16="http://schemas.microsoft.com/office/drawing/2014/main" id="{2242D542-DF57-413C-88A6-0D45AD657F2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0856" y="5525447"/>
                <a:ext cx="360933" cy="369332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35750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15596"/>
    </mc:Choice>
    <mc:Fallback xmlns="">
      <p:transition advTm="115596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基于随机梯度下降（</a:t>
            </a:r>
            <a:r>
              <a:rPr lang="en-US" altLang="zh-CN" dirty="0"/>
              <a:t>SGD</a:t>
            </a:r>
            <a:r>
              <a:rPr lang="zh-CN" altLang="en-US" dirty="0"/>
              <a:t>）的值函数近似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目标：找到参数向量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最小化值函数近似值与真实值之间的均方误差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[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1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e>
                          </m:d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2</m:t>
                          </m:r>
                        </m:sup>
                      </m:sSup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]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误差减小的梯度方向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−</m:t>
                      </m:r>
                      <m:f>
                        <m:f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𝐽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 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[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</m:e>
                      </m:d>
                      <m:f>
                        <m:f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]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单次采样进行随机梯度下降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ts val="6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eqArrPr>
                        <m:e>
                          <m: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←&amp;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𝛼</m:t>
                          </m:r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𝐽</m:t>
                              </m:r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 </m:t>
                          </m:r>
                        </m:e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&amp;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𝛼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e>
                          </m:d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</m:eqAr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  <a:blipFill>
                <a:blip r:embed="rId4"/>
                <a:stretch>
                  <a:fillRect l="-431" t="-6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17311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87271"/>
    </mc:Choice>
    <mc:Fallback xmlns="">
      <p:transition advTm="87271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特征化状态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用一个特征向量表示状态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eqArrPr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)</m:t>
                              </m:r>
                            </m:e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⋮</m:t>
                              </m:r>
                            </m:e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以直升机控制问题为例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3D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位置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3D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速度（位置的变化量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3D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加速度（速度的变化量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  <a:blipFill>
                <a:blip r:embed="rId4"/>
                <a:stretch>
                  <a:fillRect l="-431" t="-6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图片 5">
            <a:extLst>
              <a:ext uri="{FF2B5EF4-FFF2-40B4-BE49-F238E27FC236}">
                <a16:creationId xmlns:a16="http://schemas.microsoft.com/office/drawing/2014/main" id="{CD01CC6F-F676-46EA-85EB-4E1D147AA9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99340" y="2869522"/>
            <a:ext cx="2243854" cy="217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702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6065"/>
    </mc:Choice>
    <mc:Fallback xmlns="">
      <p:transition advTm="36065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价值函数近似算法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9924C768-6BFF-4B4F-A879-5BBA8637BEE7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87678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6844"/>
    </mc:Choice>
    <mc:Fallback xmlns="">
      <p:transition advTm="6844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4480C692-B31A-0344-BFAA-BF8D473C02A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 dirty="0"/>
          </a:p>
        </p:txBody>
      </p:sp>
      <p:sp>
        <p:nvSpPr>
          <p:cNvPr id="15" name="文本占位符 5">
            <a:extLst>
              <a:ext uri="{FF2B5EF4-FFF2-40B4-BE49-F238E27FC236}">
                <a16:creationId xmlns:a16="http://schemas.microsoft.com/office/drawing/2014/main" id="{4CCFA1BF-34CB-604A-B62B-AB839F515540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075867" y="2588914"/>
            <a:ext cx="3852233" cy="407781"/>
          </a:xfrm>
        </p:spPr>
        <p:txBody>
          <a:bodyPr anchor="ctr" anchorCtr="0">
            <a:normAutofit lnSpcReduction="10000"/>
          </a:bodyPr>
          <a:lstStyle/>
          <a:p>
            <a:pPr algn="l"/>
            <a:r>
              <a:rPr kumimoji="1" lang="zh-CN" altLang="en-US" dirty="0"/>
              <a:t>状态值函数近似</a:t>
            </a:r>
          </a:p>
        </p:txBody>
      </p:sp>
      <p:sp>
        <p:nvSpPr>
          <p:cNvPr id="16" name="文本占位符 6">
            <a:extLst>
              <a:ext uri="{FF2B5EF4-FFF2-40B4-BE49-F238E27FC236}">
                <a16:creationId xmlns:a16="http://schemas.microsoft.com/office/drawing/2014/main" id="{B5892E99-D5CB-BA43-A1FD-4A7C92535127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04763" y="2554624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  <p:sp>
        <p:nvSpPr>
          <p:cNvPr id="17" name="文本占位符 7">
            <a:extLst>
              <a:ext uri="{FF2B5EF4-FFF2-40B4-BE49-F238E27FC236}">
                <a16:creationId xmlns:a16="http://schemas.microsoft.com/office/drawing/2014/main" id="{35E19413-6B7B-784E-A6B8-01A75A5FD1C1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5075867" y="3367615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r>
              <a:rPr kumimoji="1" lang="zh-CN" altLang="en-US" dirty="0"/>
              <a:t>状态</a:t>
            </a:r>
            <a:r>
              <a:rPr kumimoji="1" lang="en-US" altLang="zh-CN" dirty="0"/>
              <a:t>-</a:t>
            </a:r>
            <a:r>
              <a:rPr kumimoji="1" lang="zh-CN" altLang="en-US" dirty="0"/>
              <a:t>动作值函数近似</a:t>
            </a:r>
          </a:p>
        </p:txBody>
      </p:sp>
      <p:sp>
        <p:nvSpPr>
          <p:cNvPr id="18" name="文本占位符 8">
            <a:extLst>
              <a:ext uri="{FF2B5EF4-FFF2-40B4-BE49-F238E27FC236}">
                <a16:creationId xmlns:a16="http://schemas.microsoft.com/office/drawing/2014/main" id="{A17EEDD9-C74B-6949-B908-973B6F607D6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4304763" y="3333325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  <p:sp>
        <p:nvSpPr>
          <p:cNvPr id="19" name="文本占位符 7">
            <a:extLst>
              <a:ext uri="{FF2B5EF4-FFF2-40B4-BE49-F238E27FC236}">
                <a16:creationId xmlns:a16="http://schemas.microsoft.com/office/drawing/2014/main" id="{B005E304-C8DE-4CFC-9EF9-3AAE2BFF6921}"/>
              </a:ext>
            </a:extLst>
          </p:cNvPr>
          <p:cNvSpPr txBox="1">
            <a:spLocks/>
          </p:cNvSpPr>
          <p:nvPr/>
        </p:nvSpPr>
        <p:spPr>
          <a:xfrm>
            <a:off x="5075867" y="4146316"/>
            <a:ext cx="3441065" cy="40778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 lnSpcReduction="10000"/>
          </a:bodyPr>
          <a:lstStyle>
            <a:lvl1pPr marL="0" indent="0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b="1" kern="1200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+mn-cs"/>
              </a:defRPr>
            </a:lvl1pPr>
            <a:lvl2pPr marL="4572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9144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3716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8288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22860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zh-CN" altLang="en-US"/>
              <a:t>案例分析</a:t>
            </a:r>
            <a:endParaRPr kumimoji="1" lang="zh-CN" altLang="en-US" dirty="0"/>
          </a:p>
        </p:txBody>
      </p:sp>
      <p:sp>
        <p:nvSpPr>
          <p:cNvPr id="20" name="文本占位符 8">
            <a:extLst>
              <a:ext uri="{FF2B5EF4-FFF2-40B4-BE49-F238E27FC236}">
                <a16:creationId xmlns:a16="http://schemas.microsoft.com/office/drawing/2014/main" id="{AC5D34F6-98B5-4F7C-8A08-948419468726}"/>
              </a:ext>
            </a:extLst>
          </p:cNvPr>
          <p:cNvSpPr txBox="1">
            <a:spLocks/>
          </p:cNvSpPr>
          <p:nvPr/>
        </p:nvSpPr>
        <p:spPr>
          <a:xfrm>
            <a:off x="4304763" y="4112026"/>
            <a:ext cx="636022" cy="4077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800" b="1" kern="1200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+mn-cs"/>
              </a:defRPr>
            </a:lvl1pPr>
            <a:lvl2pPr marL="4572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9144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3716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8288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22860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en-US" altLang="zh-CN" dirty="0"/>
              <a:t>03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60863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7023"/>
    </mc:Choice>
    <mc:Fallback xmlns="">
      <p:transition advTm="17023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19644" y="2818892"/>
            <a:ext cx="3060723" cy="1220215"/>
          </a:xfrm>
        </p:spPr>
        <p:txBody>
          <a:bodyPr>
            <a:normAutofit fontScale="90000"/>
          </a:bodyPr>
          <a:lstStyle/>
          <a:p>
            <a:r>
              <a:rPr kumimoji="1" lang="zh-CN" altLang="en-US" dirty="0"/>
              <a:t>状态值函数近似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94420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5028"/>
    </mc:Choice>
    <mc:Fallback xmlns="">
      <p:transition advTm="15028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475200"/>
            <a:ext cx="8137922" cy="553500"/>
          </a:xfrm>
        </p:spPr>
        <p:txBody>
          <a:bodyPr/>
          <a:lstStyle/>
          <a:p>
            <a:r>
              <a:rPr lang="zh-CN" altLang="en-US" dirty="0"/>
              <a:t>课程大纲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7ABE3"/>
              </a:solidFill>
              <a:effectLst/>
              <a:uLnTx/>
              <a:uFillTx/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C4296DFD-E508-42FA-958A-3E7E11E25FD0}"/>
              </a:ext>
            </a:extLst>
          </p:cNvPr>
          <p:cNvSpPr/>
          <p:nvPr/>
        </p:nvSpPr>
        <p:spPr>
          <a:xfrm>
            <a:off x="4574342" y="1375401"/>
            <a:ext cx="4107305" cy="44716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阿里巴巴普惠体 R" panose="00020600040101010101"/>
              <a:cs typeface="+mn-cs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1524147-056F-43D7-83E9-6329A912AA9F}"/>
              </a:ext>
            </a:extLst>
          </p:cNvPr>
          <p:cNvSpPr/>
          <p:nvPr/>
        </p:nvSpPr>
        <p:spPr>
          <a:xfrm>
            <a:off x="389744" y="1375401"/>
            <a:ext cx="4107305" cy="44716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阿里巴巴普惠体 R" panose="00020600040101010101"/>
              <a:cs typeface="+mn-cs"/>
            </a:endParaRPr>
          </a:p>
        </p:txBody>
      </p:sp>
      <p:sp>
        <p:nvSpPr>
          <p:cNvPr id="13" name="内容占位符 3">
            <a:extLst>
              <a:ext uri="{FF2B5EF4-FFF2-40B4-BE49-F238E27FC236}">
                <a16:creationId xmlns:a16="http://schemas.microsoft.com/office/drawing/2014/main" id="{35F314D7-0FDD-4D89-AF44-585DD2B76D8D}"/>
              </a:ext>
            </a:extLst>
          </p:cNvPr>
          <p:cNvSpPr txBox="1">
            <a:spLocks/>
          </p:cNvSpPr>
          <p:nvPr/>
        </p:nvSpPr>
        <p:spPr>
          <a:xfrm>
            <a:off x="550129" y="2161303"/>
            <a:ext cx="3886200" cy="3833293"/>
          </a:xfrm>
          <a:prstGeom prst="rect">
            <a:avLst/>
          </a:prstGeom>
        </p:spPr>
        <p:txBody>
          <a:bodyPr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强化学习、探索与利用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MDP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和动态规划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值函数估计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无模型控制方法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规划与学习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FF0000"/>
                </a:solidFill>
                <a:ea typeface="阿里巴巴普惠体 R" panose="00020600040101010101"/>
              </a:rPr>
              <a:t>参数化的值函数和策略</a:t>
            </a:r>
            <a:endParaRPr lang="en-US" sz="2400" dirty="0">
              <a:solidFill>
                <a:srgbClr val="FF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深度强化学习价值方法</a:t>
            </a:r>
            <a:endParaRPr lang="en-US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514350" marR="0" lvl="0" indent="-51435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深度强化学习策略方法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</p:txBody>
      </p:sp>
      <p:sp>
        <p:nvSpPr>
          <p:cNvPr id="14" name="内容占位符 4">
            <a:extLst>
              <a:ext uri="{FF2B5EF4-FFF2-40B4-BE49-F238E27FC236}">
                <a16:creationId xmlns:a16="http://schemas.microsoft.com/office/drawing/2014/main" id="{6D3298F2-5082-4464-B494-69D8F2C400B7}"/>
              </a:ext>
            </a:extLst>
          </p:cNvPr>
          <p:cNvSpPr txBox="1">
            <a:spLocks/>
          </p:cNvSpPr>
          <p:nvPr/>
        </p:nvSpPr>
        <p:spPr>
          <a:xfrm>
            <a:off x="4629150" y="2161303"/>
            <a:ext cx="4190510" cy="3893253"/>
          </a:xfrm>
          <a:prstGeom prst="rect">
            <a:avLst/>
          </a:prstGeom>
        </p:spPr>
        <p:txBody>
          <a:bodyPr>
            <a:norm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dirty="0">
                <a:solidFill>
                  <a:srgbClr val="000000"/>
                </a:solidFill>
                <a:ea typeface="阿里巴巴普惠体 R" panose="00020600040101010101"/>
              </a:rPr>
              <a:t>  9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基于模型的深度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0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模仿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indent="0">
              <a:buNone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1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离线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2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参数化动作空间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3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目标导向的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2400" dirty="0">
                <a:solidFill>
                  <a:srgbClr val="000000"/>
                </a:solidFill>
                <a:ea typeface="阿里巴巴普惠体 R" panose="00020600040101010101"/>
              </a:rPr>
              <a:t>14. </a:t>
            </a:r>
            <a:r>
              <a:rPr lang="zh-CN" altLang="en-US" sz="2400" dirty="0">
                <a:solidFill>
                  <a:srgbClr val="000000"/>
                </a:solidFill>
                <a:ea typeface="阿里巴巴普惠体 R" panose="00020600040101010101"/>
              </a:rPr>
              <a:t>多智能体强化学习</a:t>
            </a:r>
            <a:endParaRPr lang="en-US" altLang="zh-CN" sz="2400" dirty="0">
              <a:solidFill>
                <a:srgbClr val="000000"/>
              </a:solidFill>
              <a:ea typeface="阿里巴巴普惠体 R" panose="00020600040101010101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5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强化学习大模型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16.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 R" panose="00020600040101010101"/>
                <a:cs typeface="+mn-cs"/>
              </a:rPr>
              <a:t>技术交流与回顾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阿里巴巴普惠体 R" panose="00020600040101010101"/>
              <a:cs typeface="+mn-cs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7922843E-8B2C-474B-B4E6-1BF440AA651B}"/>
              </a:ext>
            </a:extLst>
          </p:cNvPr>
          <p:cNvSpPr/>
          <p:nvPr/>
        </p:nvSpPr>
        <p:spPr>
          <a:xfrm>
            <a:off x="902675" y="1397001"/>
            <a:ext cx="308144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阿里巴巴普惠体 R" panose="00020600040101010101"/>
                <a:cs typeface="+mn-cs"/>
              </a:rPr>
              <a:t>强化学习基础部分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90C5F941-010B-4E6A-B42B-E0A68B592CA6}"/>
              </a:ext>
            </a:extLst>
          </p:cNvPr>
          <p:cNvSpPr/>
          <p:nvPr/>
        </p:nvSpPr>
        <p:spPr>
          <a:xfrm>
            <a:off x="5400966" y="1397001"/>
            <a:ext cx="2646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阿里巴巴普惠体 R" panose="00020600040101010101"/>
                <a:cs typeface="+mn-cs"/>
              </a:rPr>
              <a:t>强化学习前沿部分</a:t>
            </a:r>
          </a:p>
        </p:txBody>
      </p:sp>
    </p:spTree>
    <p:extLst>
      <p:ext uri="{BB962C8B-B14F-4D97-AF65-F5344CB8AC3E}">
        <p14:creationId xmlns:p14="http://schemas.microsoft.com/office/powerpoint/2010/main" val="36996091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线性状态值函数近似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用特征的线性组合表示价值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p>
                          <m:r>
                            <m:rPr>
                              <m:sty m:val="p"/>
                            </m:r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T</m:t>
                          </m:r>
                        </m:sup>
                      </m:sSup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目标函数是参数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二次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2</m:t>
                              </m:r>
                            </m:den>
                          </m:f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</m:d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−</m:t>
                                  </m:r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e>
                                    <m:sup>
                                      <m:r>
                                        <m:rPr>
                                          <m:sty m:val="p"/>
                                        </m:r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T</m:t>
                                      </m:r>
                                    </m:sup>
                                  </m:s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𝑥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)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因而随机梯度下降能够收敛到全局最优解上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ts val="6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eqArrPr>
                        <m:e>
                          <m: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←&amp;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𝛼</m:t>
                          </m:r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𝐽</m:t>
                              </m:r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&amp;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𝛼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e>
                          </m:d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𝑥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</m:e>
                      </m:eqAr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  <a:blipFill>
                <a:blip r:embed="rId2"/>
                <a:stretch>
                  <a:fillRect l="-431" t="-6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4" name="Group 13">
            <a:extLst>
              <a:ext uri="{FF2B5EF4-FFF2-40B4-BE49-F238E27FC236}">
                <a16:creationId xmlns:a16="http://schemas.microsoft.com/office/drawing/2014/main" id="{97BC95F5-3D1F-4D2D-BD77-E96BF53D1CA7}"/>
              </a:ext>
            </a:extLst>
          </p:cNvPr>
          <p:cNvGrpSpPr/>
          <p:nvPr/>
        </p:nvGrpSpPr>
        <p:grpSpPr>
          <a:xfrm>
            <a:off x="3682109" y="5161042"/>
            <a:ext cx="2940141" cy="735933"/>
            <a:chOff x="3597708" y="4288657"/>
            <a:chExt cx="2940141" cy="735933"/>
          </a:xfrm>
        </p:grpSpPr>
        <p:cxnSp>
          <p:nvCxnSpPr>
            <p:cNvPr id="11" name="直接箭头连接符 14">
              <a:extLst>
                <a:ext uri="{FF2B5EF4-FFF2-40B4-BE49-F238E27FC236}">
                  <a16:creationId xmlns:a16="http://schemas.microsoft.com/office/drawing/2014/main" id="{B02E03F8-31A9-4AB9-8126-1D20E57E1BCF}"/>
                </a:ext>
              </a:extLst>
            </p:cNvPr>
            <p:cNvCxnSpPr/>
            <p:nvPr/>
          </p:nvCxnSpPr>
          <p:spPr>
            <a:xfrm flipH="1" flipV="1">
              <a:off x="5986253" y="4355419"/>
              <a:ext cx="1" cy="279291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9CE3DA05-3591-4789-A785-515D10B178DC}"/>
                </a:ext>
              </a:extLst>
            </p:cNvPr>
            <p:cNvGrpSpPr/>
            <p:nvPr/>
          </p:nvGrpSpPr>
          <p:grpSpPr>
            <a:xfrm>
              <a:off x="3597708" y="4288657"/>
              <a:ext cx="2940141" cy="735933"/>
              <a:chOff x="3597708" y="4360575"/>
              <a:chExt cx="2940141" cy="735933"/>
            </a:xfrm>
          </p:grpSpPr>
          <p:sp>
            <p:nvSpPr>
              <p:cNvPr id="6" name="文本框 8">
                <a:extLst>
                  <a:ext uri="{FF2B5EF4-FFF2-40B4-BE49-F238E27FC236}">
                    <a16:creationId xmlns:a16="http://schemas.microsoft.com/office/drawing/2014/main" id="{0BC929B9-750C-44D9-B902-7BADCDE41272}"/>
                  </a:ext>
                </a:extLst>
              </p:cNvPr>
              <p:cNvSpPr txBox="1"/>
              <p:nvPr/>
            </p:nvSpPr>
            <p:spPr>
              <a:xfrm>
                <a:off x="3597708" y="4727176"/>
                <a:ext cx="646331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dirty="0"/>
                  <a:t>步长</a:t>
                </a:r>
                <a:endParaRPr lang="en-US" dirty="0"/>
              </a:p>
            </p:txBody>
          </p:sp>
          <p:sp>
            <p:nvSpPr>
              <p:cNvPr id="7" name="文本框 9">
                <a:extLst>
                  <a:ext uri="{FF2B5EF4-FFF2-40B4-BE49-F238E27FC236}">
                    <a16:creationId xmlns:a16="http://schemas.microsoft.com/office/drawing/2014/main" id="{A66335D8-7BFA-4B11-823E-7D70E507A1E3}"/>
                  </a:ext>
                </a:extLst>
              </p:cNvPr>
              <p:cNvSpPr txBox="1"/>
              <p:nvPr/>
            </p:nvSpPr>
            <p:spPr>
              <a:xfrm>
                <a:off x="4361458" y="4727176"/>
                <a:ext cx="110799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dirty="0"/>
                  <a:t>预测误差</a:t>
                </a:r>
                <a:endParaRPr lang="en-US" dirty="0"/>
              </a:p>
            </p:txBody>
          </p:sp>
          <p:sp>
            <p:nvSpPr>
              <p:cNvPr id="8" name="文本框 10">
                <a:extLst>
                  <a:ext uri="{FF2B5EF4-FFF2-40B4-BE49-F238E27FC236}">
                    <a16:creationId xmlns:a16="http://schemas.microsoft.com/office/drawing/2014/main" id="{BA958D46-6815-4F91-A9FE-BB7B59F14C1F}"/>
                  </a:ext>
                </a:extLst>
              </p:cNvPr>
              <p:cNvSpPr txBox="1"/>
              <p:nvPr/>
            </p:nvSpPr>
            <p:spPr>
              <a:xfrm>
                <a:off x="5660686" y="4727176"/>
                <a:ext cx="87716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zh-CN" altLang="en-US" dirty="0"/>
                  <a:t>特征值</a:t>
                </a:r>
                <a:endParaRPr lang="en-US" dirty="0"/>
              </a:p>
            </p:txBody>
          </p:sp>
          <p:cxnSp>
            <p:nvCxnSpPr>
              <p:cNvPr id="9" name="直接箭头连接符 12">
                <a:extLst>
                  <a:ext uri="{FF2B5EF4-FFF2-40B4-BE49-F238E27FC236}">
                    <a16:creationId xmlns:a16="http://schemas.microsoft.com/office/drawing/2014/main" id="{10978FD7-8B6C-4B8F-AD4E-EAC67ABA798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992791" y="4447885"/>
                <a:ext cx="1" cy="27929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直接箭头连接符 13">
                <a:extLst>
                  <a:ext uri="{FF2B5EF4-FFF2-40B4-BE49-F238E27FC236}">
                    <a16:creationId xmlns:a16="http://schemas.microsoft.com/office/drawing/2014/main" id="{16EB2173-3C17-4FFD-ACF1-AE3EBD40CCB2}"/>
                  </a:ext>
                </a:extLst>
              </p:cNvPr>
              <p:cNvCxnSpPr/>
              <p:nvPr/>
            </p:nvCxnSpPr>
            <p:spPr>
              <a:xfrm flipH="1" flipV="1">
                <a:off x="4933784" y="4447885"/>
                <a:ext cx="1" cy="27929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右大括号 15">
                <a:extLst>
                  <a:ext uri="{FF2B5EF4-FFF2-40B4-BE49-F238E27FC236}">
                    <a16:creationId xmlns:a16="http://schemas.microsoft.com/office/drawing/2014/main" id="{F40EC65D-B3C5-40B6-9821-B007A47A87F5}"/>
                  </a:ext>
                </a:extLst>
              </p:cNvPr>
              <p:cNvSpPr/>
              <p:nvPr/>
            </p:nvSpPr>
            <p:spPr>
              <a:xfrm rot="5400000">
                <a:off x="4890129" y="3636753"/>
                <a:ext cx="87310" cy="1534954"/>
              </a:xfrm>
              <a:prstGeom prst="rightBrac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53713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60461"/>
    </mc:Choice>
    <mc:Fallback xmlns="">
      <p:transition advTm="60461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蒙特卡洛状态值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函数近似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←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𝛼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我们用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sup>
                    </m:sSup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表示真实的目标价值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“训练数据”上运用监督学习对价值函数进行预测</a:t>
                </a:r>
                <a:endParaRPr lang="en-US" altLang="zh-CN" b="0" i="1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 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𝐺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 </m:t>
                      </m:r>
                      <m:d>
                        <m:dPr>
                          <m:begChr m:val="⟨"/>
                          <m:endChr m:val="⟩"/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 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𝐺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 …,</m:t>
                      </m:r>
                      <m:d>
                        <m:dPr>
                          <m:begChr m:val="⟨"/>
                          <m:endChr m:val="⟩"/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𝑇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𝐺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𝑇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每个数据样本</a:t>
                </a:r>
                <a14:m>
                  <m:oMath xmlns:m="http://schemas.openxmlformats.org/officeDocument/2006/math">
                    <m:d>
                      <m:dPr>
                        <m:begChr m:val="⟨"/>
                        <m:endChr m:val="⟩"/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 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𝐺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</m:oMath>
                </a14:m>
                <a:endParaRPr lang="en-US" altLang="zh-CN" b="0" i="1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←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𝛼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𝐺</m:t>
                              </m:r>
                            </m:e>
                            <m:sub>
                              <m: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(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蒙特卡洛预测至少能收敛到一个局部最优解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价值函数为线性的情况下可以收敛到全局最优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  <a:blipFill>
                <a:blip r:embed="rId4"/>
                <a:stretch>
                  <a:fillRect l="-43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44280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70916"/>
    </mc:Choice>
    <mc:Fallback xmlns="">
      <p:transition advTm="70916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时序差分状态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值函数近似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←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𝛼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时序差分算法的目标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真实目标价值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有偏采样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“训练数据”上运用监督学习</a:t>
                </a:r>
                <a:endParaRPr lang="en-US" altLang="zh-CN" b="0" i="1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⟨"/>
                          <m:endChr m:val="⟩"/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 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𝛾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d>
                        <m:dPr>
                          <m:begChr m:val="⟨"/>
                          <m:endChr m:val="⟩"/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 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3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𝛾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3</m:t>
                              </m:r>
                            </m:sub>
                          </m:sSub>
                          <m: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…,</m:t>
                      </m:r>
                      <m:d>
                        <m:dPr>
                          <m:begChr m:val="⟨"/>
                          <m:endChr m:val="⟩"/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𝑇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𝑇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每个数据样本</a:t>
                </a:r>
                <a14:m>
                  <m:oMath xmlns:m="http://schemas.openxmlformats.org/officeDocument/2006/math">
                    <m:d>
                      <m:dPr>
                        <m:begChr m:val="⟨"/>
                        <m:endChr m:val="⟩"/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 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𝑟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+1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𝛾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𝑉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+1</m:t>
                                </m:r>
                              </m:sub>
                            </m:sSub>
                          </m:e>
                        </m:d>
                      </m:e>
                    </m:d>
                  </m:oMath>
                </a14:m>
                <a:endParaRPr lang="en-US" altLang="zh-CN" i="1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←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𝛼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1</m:t>
                              </m:r>
                            </m:sub>
                          </m:sSub>
                          <m:r>
                            <a:rPr lang="en-US" altLang="zh-CN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𝛾</m:t>
                          </m:r>
                          <m:sSub>
                            <m:sSubPr>
                              <m:ctrlP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1</m:t>
                              </m:r>
                            </m:sub>
                          </m:sSub>
                          <m:r>
                            <a:rPr lang="en-US" altLang="zh-CN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(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线性情况下时序差分学习（接近）收敛到全局最优解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  <a:blipFill>
                <a:blip r:embed="rId4"/>
                <a:stretch>
                  <a:fillRect l="-431" b="-22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41652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75107"/>
    </mc:Choice>
    <mc:Fallback xmlns="">
      <p:transition advTm="75107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19644" y="2818892"/>
            <a:ext cx="3060723" cy="1220215"/>
          </a:xfrm>
        </p:spPr>
        <p:txBody>
          <a:bodyPr>
            <a:normAutofit fontScale="90000"/>
          </a:bodyPr>
          <a:lstStyle/>
          <a:p>
            <a:r>
              <a:rPr kumimoji="1" lang="zh-CN" altLang="en-US" dirty="0"/>
              <a:t>状态</a:t>
            </a:r>
            <a:r>
              <a:rPr kumimoji="1" lang="en-US" altLang="zh-CN" dirty="0"/>
              <a:t>-</a:t>
            </a:r>
            <a:r>
              <a:rPr kumimoji="1" lang="zh-CN" altLang="en-US" dirty="0"/>
              <a:t>动作值函数近似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49057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7571"/>
    </mc:Choice>
    <mc:Fallback xmlns="">
      <p:transition advTm="7571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状态</a:t>
            </a:r>
            <a:r>
              <a:rPr lang="en-US" altLang="zh-CN" dirty="0"/>
              <a:t>-</a:t>
            </a:r>
            <a:r>
              <a:rPr lang="zh-CN" altLang="en-US" dirty="0"/>
              <a:t>动作值函数近似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动作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值函数进行近似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𝑎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≃</m:t>
                      </m:r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阿里巴巴普惠体 R" panose="00020600040101010101" pitchFamily="18" charset="-122"/>
                        </a:rPr>
                        <m:t>,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阿里巴巴普惠体 R" panose="00020600040101010101" pitchFamily="18" charset="-122"/>
                        </a:rPr>
                        <m:t>𝑎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最小均方误差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zh-CN" altLang="en-US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2</m:t>
                              </m:r>
                            </m:den>
                          </m:f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𝑄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𝑄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)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单个样本上进行随机梯度下降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ts val="6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eqArr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←&amp;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𝛼</m:t>
                          </m:r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𝐽</m:t>
                              </m:r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&amp;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𝛼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e>
                          </m:d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</m:eqAr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  <a:blipFill>
                <a:blip r:embed="rId2"/>
                <a:stretch>
                  <a:fillRect l="-431" t="-6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38047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52678"/>
    </mc:Choice>
    <mc:Fallback xmlns="">
      <p:transition advTm="52678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线性状态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-</a:t>
            </a:r>
            <a:r>
              <a:rPr lang="zh-CN" altLang="en-US" dirty="0"/>
              <a:t>动作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值函数近似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用特征向量表示状态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动作对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ts val="6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eqArrPr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)</m:t>
                              </m:r>
                            </m:e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⋮</m:t>
                              </m:r>
                            </m:e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</m:d>
                            </m:e>
                          </m:eqArr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ts val="6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线性情况下，参数化后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p>
                        <m:sSup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p>
                          <m:r>
                            <m:rPr>
                              <m:sty m:val="p"/>
                            </m:r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T</m:t>
                          </m:r>
                        </m:sup>
                      </m:sSup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𝑎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利用随机梯度下降更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ts val="6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eqArrPr>
                        <m:e>
                          <m: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←&amp;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𝛼</m:t>
                          </m:r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𝐽</m:t>
                              </m:r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&amp;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𝛼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m:rPr>
                                      <m:sty m:val="p"/>
                                    </m:r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T</m:t>
                                  </m:r>
                                </m:sup>
                              </m:s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𝑥</m:t>
                              </m:r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e>
                          </m:d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𝑥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</m:e>
                      </m:eqAr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  <a:blipFill>
                <a:blip r:embed="rId4"/>
                <a:stretch>
                  <a:fillRect l="-431" t="-6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5501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62567"/>
    </mc:Choice>
    <mc:Fallback xmlns="">
      <p:transition advTm="62567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时序差分状态</a:t>
            </a:r>
            <a:r>
              <a:rPr lang="en-US" altLang="zh-CN" dirty="0"/>
              <a:t>-</a:t>
            </a:r>
            <a:r>
              <a:rPr lang="zh-CN" altLang="en-US" dirty="0"/>
              <a:t>动作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值函数近似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←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𝛼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</m:e>
                      </m:d>
                      <m:f>
                        <m:f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蒙特卡洛学习，目标是</a:t>
                </a:r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累计</a:t>
                </a:r>
                <a14:m>
                  <m:oMath xmlns:m="http://schemas.openxmlformats.org/officeDocument/2006/math">
                    <m:r>
                      <a:rPr lang="zh-CN" altLang="en-US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奖励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𝐺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</m:oMath>
                </a14:m>
                <a:endParaRPr lang="en-US" altLang="zh-CN" b="0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←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𝛼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𝐺</m:t>
                              </m:r>
                            </m:e>
                            <m:sub>
                              <m: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</m:e>
                      </m:d>
                      <m:f>
                        <m:f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时序差分学习，目标是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en-US" altLang="zh-CN" i="1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i="1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sSub>
                      <m:sSubPr>
                        <m:ctrlPr>
                          <a:rPr lang="en-US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</m:e>
                      <m:sub>
                        <m:r>
                          <a:rPr lang="en-US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i="1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en-US" altLang="zh-CN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en-US" altLang="zh-CN" i="1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i="1" dirty="0">
                  <a:solidFill>
                    <a:schemeClr val="tx1"/>
                  </a:solidFill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←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𝛼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1</m:t>
                              </m:r>
                            </m:sub>
                          </m:sSub>
                          <m:r>
                            <a:rPr lang="en-US" altLang="zh-CN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𝛾</m:t>
                          </m:r>
                          <m:sSub>
                            <m:sSubPr>
                              <m:ctrlP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1</m:t>
                              </m:r>
                            </m:sub>
                          </m:sSub>
                          <m:r>
                            <a:rPr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𝑡</m:t>
                              </m:r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1</m:t>
                              </m:r>
                            </m:sub>
                          </m:sSub>
                          <m:r>
                            <a:rPr lang="en-US" altLang="zh-CN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</m:e>
                      </m:d>
                      <m:f>
                        <m:f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  <a:blipFill>
                <a:blip r:embed="rId2"/>
                <a:stretch>
                  <a:fillRect l="-43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1277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8108"/>
    </mc:Choice>
    <mc:Fallback xmlns="">
      <p:transition advTm="108108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时序差分状态</a:t>
            </a:r>
            <a:r>
              <a:rPr lang="en-US" altLang="zh-CN" dirty="0"/>
              <a:t>-</a:t>
            </a:r>
            <a:r>
              <a:rPr lang="zh-CN" altLang="en-US" dirty="0"/>
              <a:t>动作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值函数近似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3635" y="4962410"/>
                <a:ext cx="8487445" cy="164882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评估：</a:t>
                </a:r>
                <a:r>
                  <a:rPr lang="zh-CN" altLang="en-US" dirty="0">
                    <a:solidFill>
                      <a:srgbClr val="FF0000"/>
                    </a:solidFill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近似</a:t>
                </a:r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评估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𝑄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𝜃</m:t>
                        </m:r>
                      </m:sub>
                    </m:sSub>
                    <m:r>
                      <a:rPr lang="en-US" altLang="zh-CN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≃</m:t>
                    </m:r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𝑄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𝜋</m:t>
                        </m:r>
                      </m:sup>
                    </m:sSup>
                  </m:oMath>
                </a14:m>
                <a:endParaRPr lang="en-US" altLang="zh-CN" b="0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改进：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𝜖</m:t>
                    </m:r>
                  </m:oMath>
                </a14:m>
                <a:r>
                  <a:rPr lang="en-US" altLang="zh-CN" i="1" dirty="0">
                    <a:solidFill>
                      <a:schemeClr val="tx1"/>
                    </a:solidFill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</a:t>
                </a:r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贪心策略提升</a:t>
                </a:r>
                <a:endParaRPr lang="en-US" altLang="zh-CN" i="1" dirty="0">
                  <a:solidFill>
                    <a:schemeClr val="tx1"/>
                  </a:solidFill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635" y="4962410"/>
                <a:ext cx="8487445" cy="1648822"/>
              </a:xfrm>
              <a:prstGeom prst="rect">
                <a:avLst/>
              </a:prstGeom>
              <a:blipFill>
                <a:blip r:embed="rId2"/>
                <a:stretch>
                  <a:fillRect l="-431" t="-184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2" name="Group 11">
            <a:extLst>
              <a:ext uri="{FF2B5EF4-FFF2-40B4-BE49-F238E27FC236}">
                <a16:creationId xmlns:a16="http://schemas.microsoft.com/office/drawing/2014/main" id="{5E2D30FC-42B7-4634-9DB1-6026649A1B22}"/>
              </a:ext>
            </a:extLst>
          </p:cNvPr>
          <p:cNvGrpSpPr/>
          <p:nvPr/>
        </p:nvGrpSpPr>
        <p:grpSpPr>
          <a:xfrm>
            <a:off x="2599444" y="1526933"/>
            <a:ext cx="5121682" cy="3180488"/>
            <a:chOff x="2599444" y="1526933"/>
            <a:chExt cx="5121682" cy="3180488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352CCF0E-6168-4BC6-B9DE-51199ED664B1}"/>
                    </a:ext>
                  </a:extLst>
                </p:cNvPr>
                <p:cNvSpPr txBox="1"/>
                <p:nvPr/>
              </p:nvSpPr>
              <p:spPr>
                <a:xfrm>
                  <a:off x="6891861" y="2932511"/>
                  <a:ext cx="829265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𝑄</m:t>
                            </m:r>
                          </m:e>
                          <m:sup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p>
                          <m:sSup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𝜋</m:t>
                            </m:r>
                          </m:e>
                          <m:sup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∗</m:t>
                            </m:r>
                          </m:sup>
                        </m:sSup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352CCF0E-6168-4BC6-B9DE-51199ED664B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891861" y="2932511"/>
                  <a:ext cx="829265" cy="369332"/>
                </a:xfrm>
                <a:prstGeom prst="rect">
                  <a:avLst/>
                </a:prstGeom>
                <a:blipFill>
                  <a:blip r:embed="rId5"/>
                  <a:stretch>
                    <a:fillRect b="-11475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406E6DDE-F62F-4AB5-AAAF-C23CE2401EF9}"/>
                </a:ext>
              </a:extLst>
            </p:cNvPr>
            <p:cNvGrpSpPr/>
            <p:nvPr/>
          </p:nvGrpSpPr>
          <p:grpSpPr>
            <a:xfrm>
              <a:off x="2599444" y="1526933"/>
              <a:ext cx="4295826" cy="3180488"/>
              <a:chOff x="2599444" y="1526933"/>
              <a:chExt cx="4295826" cy="3180488"/>
            </a:xfrm>
          </p:grpSpPr>
          <p:pic>
            <p:nvPicPr>
              <p:cNvPr id="6" name="内容占位符 3">
                <a:extLst>
                  <a:ext uri="{FF2B5EF4-FFF2-40B4-BE49-F238E27FC236}">
                    <a16:creationId xmlns:a16="http://schemas.microsoft.com/office/drawing/2014/main" id="{A752669E-3FDD-49B7-B2EE-E8262D41BE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599444" y="1526933"/>
                <a:ext cx="4295826" cy="3180488"/>
              </a:xfrm>
              <a:prstGeom prst="rect">
                <a:avLst/>
              </a:prstGeom>
            </p:spPr>
          </p:pic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" name="TextBox 2">
                    <a:extLst>
                      <a:ext uri="{FF2B5EF4-FFF2-40B4-BE49-F238E27FC236}">
                        <a16:creationId xmlns:a16="http://schemas.microsoft.com/office/drawing/2014/main" id="{2E1A3DD1-7901-4E35-8F86-7B76139B4C7A}"/>
                      </a:ext>
                    </a:extLst>
                  </p:cNvPr>
                  <p:cNvSpPr txBox="1"/>
                  <p:nvPr/>
                </p:nvSpPr>
                <p:spPr>
                  <a:xfrm>
                    <a:off x="4572000" y="1931541"/>
                    <a:ext cx="1106200" cy="369332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sup>
                          </m:sSup>
                        </m:oMath>
                      </m:oMathPara>
                    </a14:m>
                    <a:endParaRPr lang="zh-CN" altLang="en-US" dirty="0"/>
                  </a:p>
                </p:txBody>
              </p:sp>
            </mc:Choice>
            <mc:Fallback xmlns="">
              <p:sp>
                <p:nvSpPr>
                  <p:cNvPr id="3" name="TextBox 2">
                    <a:extLst>
                      <a:ext uri="{FF2B5EF4-FFF2-40B4-BE49-F238E27FC236}">
                        <a16:creationId xmlns:a16="http://schemas.microsoft.com/office/drawing/2014/main" id="{2E1A3DD1-7901-4E35-8F86-7B76139B4C7A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572000" y="1931541"/>
                    <a:ext cx="1106200" cy="369332"/>
                  </a:xfrm>
                  <a:prstGeom prst="rect">
                    <a:avLst/>
                  </a:prstGeom>
                  <a:blipFill>
                    <a:blip r:embed="rId7"/>
                    <a:stretch>
                      <a:fillRect b="-11667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8" name="TextBox 7">
                    <a:extLst>
                      <a:ext uri="{FF2B5EF4-FFF2-40B4-BE49-F238E27FC236}">
                        <a16:creationId xmlns:a16="http://schemas.microsoft.com/office/drawing/2014/main" id="{3ADF7DDE-81A7-464F-B93B-F195311D99B1}"/>
                      </a:ext>
                    </a:extLst>
                  </p:cNvPr>
                  <p:cNvSpPr txBox="1"/>
                  <p:nvPr/>
                </p:nvSpPr>
                <p:spPr>
                  <a:xfrm>
                    <a:off x="3902468" y="2705481"/>
                    <a:ext cx="1106200" cy="369332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≃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sup>
                          </m:sSup>
                        </m:oMath>
                      </m:oMathPara>
                    </a14:m>
                    <a:endParaRPr lang="zh-CN" altLang="en-US" dirty="0"/>
                  </a:p>
                </p:txBody>
              </p:sp>
            </mc:Choice>
            <mc:Fallback xmlns="">
              <p:sp>
                <p:nvSpPr>
                  <p:cNvPr id="8" name="TextBox 7">
                    <a:extLst>
                      <a:ext uri="{FF2B5EF4-FFF2-40B4-BE49-F238E27FC236}">
                        <a16:creationId xmlns:a16="http://schemas.microsoft.com/office/drawing/2014/main" id="{3ADF7DDE-81A7-464F-B93B-F195311D99B1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902468" y="2705481"/>
                    <a:ext cx="1106200" cy="369332"/>
                  </a:xfrm>
                  <a:prstGeom prst="rect">
                    <a:avLst/>
                  </a:prstGeom>
                  <a:blipFill>
                    <a:blip r:embed="rId8"/>
                    <a:stretch>
                      <a:fillRect b="-11667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9" name="TextBox 8">
                    <a:extLst>
                      <a:ext uri="{FF2B5EF4-FFF2-40B4-BE49-F238E27FC236}">
                        <a16:creationId xmlns:a16="http://schemas.microsoft.com/office/drawing/2014/main" id="{237220A8-4CF8-4645-A4CA-176CED9785EE}"/>
                      </a:ext>
                    </a:extLst>
                  </p:cNvPr>
                  <p:cNvSpPr txBox="1"/>
                  <p:nvPr/>
                </p:nvSpPr>
                <p:spPr>
                  <a:xfrm>
                    <a:off x="4116202" y="4068695"/>
                    <a:ext cx="2017795" cy="369332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𝜋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𝜖</m:t>
                          </m:r>
                          <m:r>
                            <m:rPr>
                              <m:nor/>
                            </m:rPr>
                            <a:rPr lang="en-US" altLang="zh-CN" b="0" i="0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nor/>
                            </m:rPr>
                            <a:rPr lang="en-US" altLang="zh-CN" b="0" i="0" smtClean="0">
                              <a:latin typeface="Cambria Math" panose="02040503050406030204" pitchFamily="18" charset="0"/>
                            </a:rPr>
                            <m:t>greedy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oMath>
                      </m:oMathPara>
                    </a14:m>
                    <a:endParaRPr lang="zh-CN" altLang="en-US" dirty="0"/>
                  </a:p>
                </p:txBody>
              </p:sp>
            </mc:Choice>
            <mc:Fallback xmlns="">
              <p:sp>
                <p:nvSpPr>
                  <p:cNvPr id="9" name="TextBox 8">
                    <a:extLst>
                      <a:ext uri="{FF2B5EF4-FFF2-40B4-BE49-F238E27FC236}">
                        <a16:creationId xmlns:a16="http://schemas.microsoft.com/office/drawing/2014/main" id="{237220A8-4CF8-4645-A4CA-176CED9785EE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116202" y="4068695"/>
                    <a:ext cx="2017795" cy="369332"/>
                  </a:xfrm>
                  <a:prstGeom prst="rect">
                    <a:avLst/>
                  </a:prstGeom>
                  <a:blipFill>
                    <a:blip r:embed="rId9"/>
                    <a:stretch>
                      <a:fillRect b="-14754"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" name="TextBox 9">
                    <a:extLst>
                      <a:ext uri="{FF2B5EF4-FFF2-40B4-BE49-F238E27FC236}">
                        <a16:creationId xmlns:a16="http://schemas.microsoft.com/office/drawing/2014/main" id="{3D54D985-D219-40FC-8AC0-1784BDBCC387}"/>
                      </a:ext>
                    </a:extLst>
                  </p:cNvPr>
                  <p:cNvSpPr txBox="1"/>
                  <p:nvPr/>
                </p:nvSpPr>
                <p:spPr>
                  <a:xfrm>
                    <a:off x="3214100" y="2810889"/>
                    <a:ext cx="385362" cy="369332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𝜃</m:t>
                          </m:r>
                        </m:oMath>
                      </m:oMathPara>
                    </a14:m>
                    <a:endParaRPr lang="zh-CN" altLang="en-US" dirty="0"/>
                  </a:p>
                </p:txBody>
              </p:sp>
            </mc:Choice>
            <mc:Fallback xmlns="">
              <p:sp>
                <p:nvSpPr>
                  <p:cNvPr id="10" name="TextBox 9">
                    <a:extLst>
                      <a:ext uri="{FF2B5EF4-FFF2-40B4-BE49-F238E27FC236}">
                        <a16:creationId xmlns:a16="http://schemas.microsoft.com/office/drawing/2014/main" id="{3D54D985-D219-40FC-8AC0-1784BDBCC387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214100" y="2810889"/>
                    <a:ext cx="385362" cy="369332"/>
                  </a:xfrm>
                  <a:prstGeom prst="rect">
                    <a:avLst/>
                  </a:prstGeom>
                  <a:blipFill>
                    <a:blip r:embed="rId10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zh-CN" alt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</p:spTree>
    <p:extLst>
      <p:ext uri="{BB962C8B-B14F-4D97-AF65-F5344CB8AC3E}">
        <p14:creationId xmlns:p14="http://schemas.microsoft.com/office/powerpoint/2010/main" val="3236564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0466"/>
    </mc:Choice>
    <mc:Fallback xmlns="">
      <p:transition advTm="40466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时序差分学习参数更新过程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6556" y="1330721"/>
                <a:ext cx="7983810" cy="460772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𝑇𝐷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0)</m:t>
                    </m:r>
                  </m:oMath>
                </a14:m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时序差分学习的目标是</a:t>
                </a:r>
                <a:endParaRPr lang="en-US" altLang="zh-CN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值函数</a:t>
                </a:r>
                <a:endParaRPr lang="en-US" altLang="zh-CN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eqArr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←&amp;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𝛼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e>
                          </m:d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&amp;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𝛼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  <m: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+1</m:t>
                                  </m:r>
                                </m:sub>
                              </m:sSub>
                              <m: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</m:t>
                              </m:r>
                              <m: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𝛾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+1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e>
                          </m:d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</m:sub>
                                  </m:sSub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</m:eqArr>
                    </m:oMath>
                  </m:oMathPara>
                </a14:m>
                <a:endParaRPr lang="en-US" altLang="zh-CN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动作</a:t>
                </a:r>
                <a:r>
                  <a:rPr lang="en-US" altLang="zh-CN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</a:t>
                </a:r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值函数</a:t>
                </a:r>
                <a:endParaRPr lang="en-US" altLang="zh-CN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eqArr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←&amp;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𝛼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e>
                          </m:d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&amp;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𝛼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𝑡</m:t>
                                  </m:r>
                                  <m: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+1</m:t>
                                  </m:r>
                                </m:sub>
                              </m:sSub>
                              <m: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+</m:t>
                              </m:r>
                              <m:r>
                                <a:rPr lang="en-US" altLang="zh-CN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𝛾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+1</m:t>
                                      </m:r>
                                    </m:sub>
                                  </m:sSub>
                                  <m: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,</m:t>
                                  </m:r>
                                  <m:sSub>
                                    <m:sSubPr>
                                      <m:ctrlP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+1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e>
                          </m:d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</m:eqArr>
                    </m:oMath>
                  </m:oMathPara>
                </a14:m>
                <a:endParaRPr lang="en-US" altLang="zh-CN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虽然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r>
                  <a:rPr lang="zh-CN" altLang="en-US" dirty="0">
                    <a:solidFill>
                      <a:schemeClr val="tx1"/>
                    </a:solidFill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</a:t>
                </a:r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时序差分学习的目标中出现，但是我们并不需要计算目标函数的梯度。想想这是为什么？</a:t>
                </a:r>
                <a:endParaRPr lang="en-US" altLang="zh-CN" dirty="0">
                  <a:solidFill>
                    <a:schemeClr val="tx1"/>
                  </a:solidFill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556" y="1330721"/>
                <a:ext cx="7983810" cy="4607722"/>
              </a:xfrm>
              <a:prstGeom prst="rect">
                <a:avLst/>
              </a:prstGeom>
              <a:blipFill>
                <a:blip r:embed="rId2"/>
                <a:stretch>
                  <a:fillRect l="-458" t="-6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6177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5266"/>
    </mc:Choice>
    <mc:Fallback xmlns="">
      <p:transition advTm="35266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zh-CN" altLang="en-US" dirty="0"/>
              <a:t>案例分析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3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0889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5763"/>
    </mc:Choice>
    <mc:Fallback xmlns="">
      <p:transition advTm="5763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475200"/>
            <a:ext cx="8137922" cy="553500"/>
          </a:xfrm>
        </p:spPr>
        <p:txBody>
          <a:bodyPr/>
          <a:lstStyle/>
          <a:p>
            <a:r>
              <a:rPr lang="zh-CN" altLang="en-US" dirty="0"/>
              <a:t>课程回顾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17ABE3"/>
                </a:solidFill>
                <a:effectLst/>
                <a:uLnTx/>
                <a:uFillTx/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17ABE3"/>
              </a:solidFill>
              <a:effectLst/>
              <a:uLnTx/>
              <a:uFillTx/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10" name="文本占位符 3">
            <a:extLst>
              <a:ext uri="{FF2B5EF4-FFF2-40B4-BE49-F238E27FC236}">
                <a16:creationId xmlns:a16="http://schemas.microsoft.com/office/drawing/2014/main" id="{92DB8E22-82B6-4CD0-B0A2-57341EA7B1AD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2620900" cy="42811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基于模型的动态规划</a:t>
            </a:r>
          </a:p>
        </p:txBody>
      </p:sp>
      <p:sp>
        <p:nvSpPr>
          <p:cNvPr id="17" name="文本占位符 3">
            <a:extLst>
              <a:ext uri="{FF2B5EF4-FFF2-40B4-BE49-F238E27FC236}">
                <a16:creationId xmlns:a16="http://schemas.microsoft.com/office/drawing/2014/main" id="{C391E581-35DF-42B3-9B1E-4E1085516B7F}"/>
              </a:ext>
            </a:extLst>
          </p:cNvPr>
          <p:cNvSpPr txBox="1">
            <a:spLocks/>
          </p:cNvSpPr>
          <p:nvPr/>
        </p:nvSpPr>
        <p:spPr>
          <a:xfrm>
            <a:off x="502442" y="2771126"/>
            <a:ext cx="2364046" cy="43590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无模型的强化学习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内容占位符 2">
                <a:extLst>
                  <a:ext uri="{FF2B5EF4-FFF2-40B4-BE49-F238E27FC236}">
                    <a16:creationId xmlns:a16="http://schemas.microsoft.com/office/drawing/2014/main" id="{CA558916-D061-4AFB-867F-F57569BF30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733690"/>
                <a:ext cx="8137922" cy="114043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值迭代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func>
                      <m:func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max</m:t>
                            </m:r>
                          </m:e>
                          <m:lim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∈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𝐴</m:t>
                            </m:r>
                          </m:lim>
                        </m:limLow>
                      </m:fName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𝛾</m:t>
                        </m:r>
                      </m:e>
                    </m:func>
                    <m:nary>
                      <m:naryPr>
                        <m:chr m:val="∑"/>
                        <m:supHide m:val="on"/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naryPr>
                      <m:sub>
                        <m:sSup>
                          <m:sSup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p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′</m:t>
                            </m:r>
                          </m:sup>
                        </m:s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∈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𝑆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𝑃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𝑎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p>
                              <m:sSup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𝑠</m:t>
                                </m:r>
                              </m:e>
                              <m:sup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′</m:t>
                                </m:r>
                              </m:sup>
                            </m:sSup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)</m:t>
                        </m:r>
                      </m:e>
                    </m:nary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</m:oMath>
                </a14:m>
                <a:endParaRPr lang="en-US" altLang="zh-CN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迭代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en-US" altLang="zh-CN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funcPr>
                      <m:fNam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=</m:t>
                        </m:r>
                        <m:r>
                          <m:rPr>
                            <m:sty m:val="p"/>
                          </m:rPr>
                          <a:rPr lang="en-US" altLang="zh-CN" b="0" i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arg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 </m:t>
                        </m:r>
                        <m:limLow>
                          <m:limLowPr>
                            <m:ctrlPr>
                              <a:rPr lang="en-US" altLang="zh-CN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en-US" altLang="zh-CN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max</m:t>
                            </m:r>
                          </m:e>
                          <m:lim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∈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𝐴</m:t>
                            </m:r>
                          </m:lim>
                        </m:limLow>
                      </m:fName>
                      <m:e>
                        <m:nary>
                          <m:naryPr>
                            <m:chr m:val="∑"/>
                            <m:supHide m:val="on"/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naryPr>
                          <m:sub>
                            <m:sSup>
                              <m:sSup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p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𝑠</m:t>
                                </m:r>
                              </m:e>
                              <m:sup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′</m:t>
                                </m:r>
                              </m:sup>
                            </m:sSup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∈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𝑆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𝑠𝑎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dPr>
                              <m:e>
                                <m:sSup>
                                  <m:sSupPr>
                                    <m:ctrlP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𝑠</m:t>
                                    </m:r>
                                  </m:e>
                                  <m:sup>
                                    <m:r>
                                      <a:rPr lang="en-US" altLang="zh-CN" b="0" i="1" smtClean="0">
                                        <a:latin typeface="Cambria Math" panose="02040503050406030204" pitchFamily="18" charset="0"/>
                                        <a:ea typeface="阿里巴巴普惠体 R" panose="00020600040101010101" pitchFamily="18" charset="-122"/>
                                        <a:cs typeface="阿里巴巴普惠体 R" panose="00020600040101010101" pitchFamily="18" charset="-122"/>
                                      </a:rPr>
                                      <m:t>′</m:t>
                                    </m:r>
                                  </m:sup>
                                </m:sSup>
                              </m:e>
                            </m:d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𝑉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(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′)</m:t>
                            </m:r>
                          </m:e>
                        </m:nary>
                      </m:e>
                    </m:func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8" name="内容占位符 2">
                <a:extLst>
                  <a:ext uri="{FF2B5EF4-FFF2-40B4-BE49-F238E27FC236}">
                    <a16:creationId xmlns:a16="http://schemas.microsoft.com/office/drawing/2014/main" id="{CA558916-D061-4AFB-867F-F57569BF30B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733690"/>
                <a:ext cx="8137922" cy="1140437"/>
              </a:xfrm>
              <a:prstGeom prst="rect">
                <a:avLst/>
              </a:prstGeom>
              <a:blipFill>
                <a:blip r:embed="rId2"/>
                <a:stretch>
                  <a:fillRect l="-449" t="-42781" b="-4598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内容占位符 2">
                <a:extLst>
                  <a:ext uri="{FF2B5EF4-FFF2-40B4-BE49-F238E27FC236}">
                    <a16:creationId xmlns:a16="http://schemas.microsoft.com/office/drawing/2014/main" id="{3389016E-D742-4DCC-BD4E-A576798AA71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3265783"/>
                <a:ext cx="8137922" cy="275276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线策略蒙特卡洛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𝐺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−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)</m:t>
                    </m:r>
                  </m:oMath>
                </a14:m>
                <a:endParaRPr lang="en-US" altLang="zh-CN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线策略时序差分 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𝑟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+1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𝛾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  <m:d>
                          <m:d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+1</m:t>
                                </m:r>
                              </m:sub>
                            </m:sSub>
                          </m:e>
                        </m:d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𝑉</m:t>
                        </m:r>
                        <m:d>
                          <m:d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𝑠</m:t>
                                </m:r>
                              </m:e>
                              <m:sub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𝑡</m:t>
                                </m:r>
                              </m:sub>
                            </m:sSub>
                          </m:e>
                        </m:d>
                      </m:e>
                    </m:d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线策略时序差分 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SARSA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学习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+1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+1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−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离线策略时序差分 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Q-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学习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+1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limLow>
                      <m:limLow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limLowPr>
                      <m:e>
                        <m:r>
                          <m:rPr>
                            <m:sty m:val="p"/>
                          </m:rPr>
                          <a:rPr lang="en-US" altLang="zh-CN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max</m:t>
                        </m:r>
                      </m:e>
                      <m:lim>
                        <m:sSup>
                          <m:sSup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p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′</m:t>
                            </m:r>
                          </m:sup>
                        </m:sSup>
                      </m:lim>
                    </m:limLow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+1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′</m:t>
                        </m:r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−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9" name="内容占位符 2">
                <a:extLst>
                  <a:ext uri="{FF2B5EF4-FFF2-40B4-BE49-F238E27FC236}">
                    <a16:creationId xmlns:a16="http://schemas.microsoft.com/office/drawing/2014/main" id="{3389016E-D742-4DCC-BD4E-A576798AA71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3265783"/>
                <a:ext cx="8137922" cy="2752769"/>
              </a:xfrm>
              <a:prstGeom prst="rect">
                <a:avLst/>
              </a:prstGeom>
              <a:blipFill>
                <a:blip r:embed="rId3"/>
                <a:stretch>
                  <a:fillRect l="-449" t="-133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0464488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案例分析：</a:t>
            </a:r>
            <a:r>
              <a:rPr lang="en-US" altLang="zh-CN" dirty="0"/>
              <a:t>Deep Q-Network (DQN)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 dirty="0"/>
          </a:p>
        </p:txBody>
      </p:sp>
      <p:pic>
        <p:nvPicPr>
          <p:cNvPr id="7" name="内容占位符 3">
            <a:extLst>
              <a:ext uri="{FF2B5EF4-FFF2-40B4-BE49-F238E27FC236}">
                <a16:creationId xmlns:a16="http://schemas.microsoft.com/office/drawing/2014/main" id="{423C57EB-6535-4961-B29F-28801A5E42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812" y="1750648"/>
            <a:ext cx="4556972" cy="3417729"/>
          </a:xfrm>
          <a:prstGeom prst="rect">
            <a:avLst/>
          </a:prstGeom>
        </p:spPr>
      </p:pic>
      <p:pic>
        <p:nvPicPr>
          <p:cNvPr id="10" name="图片 5">
            <a:extLst>
              <a:ext uri="{FF2B5EF4-FFF2-40B4-BE49-F238E27FC236}">
                <a16:creationId xmlns:a16="http://schemas.microsoft.com/office/drawing/2014/main" id="{E8CAB3DB-C714-414E-8ADB-7C24A87D7A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7452" y="1253150"/>
            <a:ext cx="3899357" cy="4762864"/>
          </a:xfrm>
          <a:prstGeom prst="rect">
            <a:avLst/>
          </a:prstGeom>
        </p:spPr>
      </p:pic>
      <p:sp>
        <p:nvSpPr>
          <p:cNvPr id="11" name="页脚占位符 2">
            <a:extLst>
              <a:ext uri="{FF2B5EF4-FFF2-40B4-BE49-F238E27FC236}">
                <a16:creationId xmlns:a16="http://schemas.microsoft.com/office/drawing/2014/main" id="{36D077C7-E04C-443C-8CB4-B18439713745}"/>
              </a:ext>
            </a:extLst>
          </p:cNvPr>
          <p:cNvSpPr txBox="1">
            <a:spLocks/>
          </p:cNvSpPr>
          <p:nvPr/>
        </p:nvSpPr>
        <p:spPr>
          <a:xfrm>
            <a:off x="269901" y="6316580"/>
            <a:ext cx="7905108" cy="371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0" kern="1200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Volodymyr </a:t>
            </a:r>
            <a:r>
              <a:rPr lang="en-US" altLang="zh-CN" dirty="0" err="1"/>
              <a:t>Mnih</a:t>
            </a:r>
            <a:r>
              <a:rPr lang="en-US" altLang="zh-CN" dirty="0"/>
              <a:t>, </a:t>
            </a:r>
            <a:r>
              <a:rPr lang="en-US" altLang="zh-CN" dirty="0" err="1"/>
              <a:t>Koray</a:t>
            </a:r>
            <a:r>
              <a:rPr lang="en-US" altLang="zh-CN" dirty="0"/>
              <a:t> </a:t>
            </a:r>
            <a:r>
              <a:rPr lang="en-US" altLang="zh-CN" dirty="0" err="1"/>
              <a:t>Kavukcuoglu</a:t>
            </a:r>
            <a:r>
              <a:rPr lang="en-US" altLang="zh-CN" dirty="0"/>
              <a:t>, David Silver et al. </a:t>
            </a:r>
          </a:p>
          <a:p>
            <a:r>
              <a:rPr lang="en-US" altLang="zh-CN" dirty="0"/>
              <a:t>Human-level control through deep reinforcement learning. Nature 2015.</a:t>
            </a:r>
          </a:p>
        </p:txBody>
      </p:sp>
    </p:spTree>
    <p:extLst>
      <p:ext uri="{BB962C8B-B14F-4D97-AF65-F5344CB8AC3E}">
        <p14:creationId xmlns:p14="http://schemas.microsoft.com/office/powerpoint/2010/main" val="190223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69028"/>
    </mc:Choice>
    <mc:Fallback xmlns="">
      <p:transition advTm="69028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案例分析：</a:t>
            </a:r>
            <a:r>
              <a:rPr lang="en-US" altLang="zh-CN" dirty="0"/>
              <a:t>Deep Q-Network (DQN)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 dirty="0"/>
          </a:p>
        </p:txBody>
      </p:sp>
      <p:pic>
        <p:nvPicPr>
          <p:cNvPr id="8" name="图片 4">
            <a:extLst>
              <a:ext uri="{FF2B5EF4-FFF2-40B4-BE49-F238E27FC236}">
                <a16:creationId xmlns:a16="http://schemas.microsoft.com/office/drawing/2014/main" id="{F279340C-C984-4CC7-8649-55677117FA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738" y="1762797"/>
            <a:ext cx="7178050" cy="4167690"/>
          </a:xfrm>
          <a:prstGeom prst="rect">
            <a:avLst/>
          </a:prstGeom>
        </p:spPr>
      </p:pic>
      <p:sp>
        <p:nvSpPr>
          <p:cNvPr id="12" name="内容占位符 2">
            <a:extLst>
              <a:ext uri="{FF2B5EF4-FFF2-40B4-BE49-F238E27FC236}">
                <a16:creationId xmlns:a16="http://schemas.microsoft.com/office/drawing/2014/main" id="{22A0180C-025C-4472-964F-77CEA58B44BE}"/>
              </a:ext>
            </a:extLst>
          </p:cNvPr>
          <p:cNvSpPr txBox="1">
            <a:spLocks/>
          </p:cNvSpPr>
          <p:nvPr/>
        </p:nvSpPr>
        <p:spPr>
          <a:xfrm>
            <a:off x="656555" y="1276054"/>
            <a:ext cx="8487445" cy="164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solidFill>
                  <a:schemeClr val="tx1"/>
                </a:solidFill>
                <a:latin typeface="Cambria Math" panose="02040503050406030204" pitchFamily="18" charset="0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用深度神经网络表示</a:t>
            </a:r>
            <a:r>
              <a:rPr lang="en-US" altLang="zh-CN" dirty="0">
                <a:latin typeface="Cambria Math" panose="02040503050406030204" pitchFamily="18" charset="0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Q</a:t>
            </a:r>
            <a:r>
              <a:rPr lang="zh-CN" altLang="en-US" dirty="0">
                <a:latin typeface="Cambria Math" panose="02040503050406030204" pitchFamily="18" charset="0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函数</a:t>
            </a:r>
            <a:endParaRPr lang="en-US" altLang="zh-CN" dirty="0">
              <a:solidFill>
                <a:schemeClr val="tx1"/>
              </a:solidFill>
              <a:latin typeface="Cambria Math" panose="02040503050406030204" pitchFamily="18" charset="0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3" name="页脚占位符 2">
            <a:extLst>
              <a:ext uri="{FF2B5EF4-FFF2-40B4-BE49-F238E27FC236}">
                <a16:creationId xmlns:a16="http://schemas.microsoft.com/office/drawing/2014/main" id="{2B314557-B370-942C-506A-BE7568653400}"/>
              </a:ext>
            </a:extLst>
          </p:cNvPr>
          <p:cNvSpPr txBox="1">
            <a:spLocks/>
          </p:cNvSpPr>
          <p:nvPr/>
        </p:nvSpPr>
        <p:spPr>
          <a:xfrm>
            <a:off x="269901" y="6316580"/>
            <a:ext cx="7905108" cy="371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0" kern="1200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Volodymyr </a:t>
            </a:r>
            <a:r>
              <a:rPr lang="en-US" altLang="zh-CN" dirty="0" err="1"/>
              <a:t>Mnih</a:t>
            </a:r>
            <a:r>
              <a:rPr lang="en-US" altLang="zh-CN" dirty="0"/>
              <a:t>, </a:t>
            </a:r>
            <a:r>
              <a:rPr lang="en-US" altLang="zh-CN" dirty="0" err="1"/>
              <a:t>Koray</a:t>
            </a:r>
            <a:r>
              <a:rPr lang="en-US" altLang="zh-CN" dirty="0"/>
              <a:t> </a:t>
            </a:r>
            <a:r>
              <a:rPr lang="en-US" altLang="zh-CN" dirty="0" err="1"/>
              <a:t>Kavukcuoglu</a:t>
            </a:r>
            <a:r>
              <a:rPr lang="en-US" altLang="zh-CN" dirty="0"/>
              <a:t>, David Silver et al. </a:t>
            </a:r>
          </a:p>
          <a:p>
            <a:r>
              <a:rPr lang="en-US" altLang="zh-CN" dirty="0"/>
              <a:t>Human-level control through deep reinforcement learning. Nature 2015.</a:t>
            </a:r>
          </a:p>
        </p:txBody>
      </p:sp>
    </p:spTree>
    <p:extLst>
      <p:ext uri="{BB962C8B-B14F-4D97-AF65-F5344CB8AC3E}">
        <p14:creationId xmlns:p14="http://schemas.microsoft.com/office/powerpoint/2010/main" val="2723151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61935"/>
    </mc:Choice>
    <mc:Fallback xmlns="">
      <p:transition advTm="61935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案例分析：</a:t>
            </a:r>
            <a:r>
              <a:rPr lang="en-US" altLang="zh-CN" dirty="0"/>
              <a:t>Deep Q-Network (DQN)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22A0180C-025C-4472-964F-77CEA58B44B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6555" y="1276053"/>
                <a:ext cx="8487445" cy="426415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solidFill>
                      <a:schemeClr val="tx1"/>
                    </a:solidFill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第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𝑖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轮</m:t>
                    </m:r>
                  </m:oMath>
                </a14:m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迭代中更新的</a:t>
                </a:r>
                <a:r>
                  <a:rPr lang="en-US" altLang="zh-CN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Q-</a:t>
                </a:r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学习损失函数</a:t>
                </a:r>
                <a:endParaRPr lang="en-US" altLang="zh-CN" dirty="0">
                  <a:solidFill>
                    <a:schemeClr val="tx1"/>
                  </a:solidFill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solidFill>
                    <a:schemeClr val="tx1"/>
                  </a:solidFill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2" name="内容占位符 2">
                <a:extLst>
                  <a:ext uri="{FF2B5EF4-FFF2-40B4-BE49-F238E27FC236}">
                    <a16:creationId xmlns:a16="http://schemas.microsoft.com/office/drawing/2014/main" id="{22A0180C-025C-4472-964F-77CEA58B44B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555" y="1276053"/>
                <a:ext cx="8487445" cy="426415"/>
              </a:xfrm>
              <a:prstGeom prst="rect">
                <a:avLst/>
              </a:prstGeom>
              <a:blipFill>
                <a:blip r:embed="rId2"/>
                <a:stretch>
                  <a:fillRect l="-431" t="-8571" b="-1857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5" name="Group 4">
            <a:extLst>
              <a:ext uri="{FF2B5EF4-FFF2-40B4-BE49-F238E27FC236}">
                <a16:creationId xmlns:a16="http://schemas.microsoft.com/office/drawing/2014/main" id="{F8594E2B-0C44-468A-9E00-19B6B4833CDC}"/>
              </a:ext>
            </a:extLst>
          </p:cNvPr>
          <p:cNvGrpSpPr/>
          <p:nvPr/>
        </p:nvGrpSpPr>
        <p:grpSpPr>
          <a:xfrm>
            <a:off x="4097234" y="2814274"/>
            <a:ext cx="3954548" cy="577279"/>
            <a:chOff x="3983644" y="2186027"/>
            <a:chExt cx="3954548" cy="577279"/>
          </a:xfrm>
        </p:grpSpPr>
        <p:sp>
          <p:nvSpPr>
            <p:cNvPr id="9" name="左大括号 7">
              <a:extLst>
                <a:ext uri="{FF2B5EF4-FFF2-40B4-BE49-F238E27FC236}">
                  <a16:creationId xmlns:a16="http://schemas.microsoft.com/office/drawing/2014/main" id="{3DC7E57D-D7F2-480D-A298-E2656F8846D1}"/>
                </a:ext>
              </a:extLst>
            </p:cNvPr>
            <p:cNvSpPr/>
            <p:nvPr/>
          </p:nvSpPr>
          <p:spPr>
            <a:xfrm rot="16200000">
              <a:off x="5207213" y="962458"/>
              <a:ext cx="118260" cy="2565397"/>
            </a:xfrm>
            <a:prstGeom prst="leftBrac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左大括号 8">
              <a:extLst>
                <a:ext uri="{FF2B5EF4-FFF2-40B4-BE49-F238E27FC236}">
                  <a16:creationId xmlns:a16="http://schemas.microsoft.com/office/drawing/2014/main" id="{970315D8-1061-4A4D-A364-64087191F2C7}"/>
                </a:ext>
              </a:extLst>
            </p:cNvPr>
            <p:cNvSpPr/>
            <p:nvPr/>
          </p:nvSpPr>
          <p:spPr>
            <a:xfrm rot="16200000">
              <a:off x="7327408" y="1693503"/>
              <a:ext cx="118260" cy="1103308"/>
            </a:xfrm>
            <a:prstGeom prst="leftBrac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文本框 9">
              <a:extLst>
                <a:ext uri="{FF2B5EF4-FFF2-40B4-BE49-F238E27FC236}">
                  <a16:creationId xmlns:a16="http://schemas.microsoft.com/office/drawing/2014/main" id="{2D3063D2-29F3-44EC-BA32-79C8028399E5}"/>
                </a:ext>
              </a:extLst>
            </p:cNvPr>
            <p:cNvSpPr txBox="1"/>
            <p:nvPr/>
          </p:nvSpPr>
          <p:spPr>
            <a:xfrm>
              <a:off x="4737993" y="2393974"/>
              <a:ext cx="105670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/>
                <a:t>目标</a:t>
              </a:r>
              <a:r>
                <a:rPr lang="en-US" altLang="zh-CN" dirty="0"/>
                <a:t>Q</a:t>
              </a:r>
              <a:r>
                <a:rPr lang="zh-CN" altLang="en-US" dirty="0"/>
                <a:t>值</a:t>
              </a:r>
              <a:endParaRPr lang="en-US" dirty="0"/>
            </a:p>
          </p:txBody>
        </p:sp>
        <p:sp>
          <p:nvSpPr>
            <p:cNvPr id="14" name="文本框 10">
              <a:extLst>
                <a:ext uri="{FF2B5EF4-FFF2-40B4-BE49-F238E27FC236}">
                  <a16:creationId xmlns:a16="http://schemas.microsoft.com/office/drawing/2014/main" id="{6754EE3E-F241-4FC0-A42F-21C898471F98}"/>
                </a:ext>
              </a:extLst>
            </p:cNvPr>
            <p:cNvSpPr txBox="1"/>
            <p:nvPr/>
          </p:nvSpPr>
          <p:spPr>
            <a:xfrm>
              <a:off x="6881492" y="2393974"/>
              <a:ext cx="105670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/>
                <a:t>预测</a:t>
              </a:r>
              <a:r>
                <a:rPr lang="en-US" altLang="zh-CN" dirty="0"/>
                <a:t>Q</a:t>
              </a:r>
              <a:r>
                <a:rPr lang="zh-CN" altLang="en-US" dirty="0"/>
                <a:t>值</a:t>
              </a:r>
              <a:endParaRPr lang="en-US" dirty="0"/>
            </a:p>
          </p:txBody>
        </p:sp>
      </p:grpSp>
      <p:sp>
        <p:nvSpPr>
          <p:cNvPr id="17" name="页脚占位符 2">
            <a:extLst>
              <a:ext uri="{FF2B5EF4-FFF2-40B4-BE49-F238E27FC236}">
                <a16:creationId xmlns:a16="http://schemas.microsoft.com/office/drawing/2014/main" id="{013321E9-105C-675A-F585-BFF23DDAF3A3}"/>
              </a:ext>
            </a:extLst>
          </p:cNvPr>
          <p:cNvSpPr txBox="1">
            <a:spLocks/>
          </p:cNvSpPr>
          <p:nvPr/>
        </p:nvSpPr>
        <p:spPr>
          <a:xfrm>
            <a:off x="269901" y="6316580"/>
            <a:ext cx="7905108" cy="371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0" kern="1200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Volodymyr </a:t>
            </a:r>
            <a:r>
              <a:rPr lang="en-US" altLang="zh-CN" dirty="0" err="1"/>
              <a:t>Mnih</a:t>
            </a:r>
            <a:r>
              <a:rPr lang="en-US" altLang="zh-CN" dirty="0"/>
              <a:t>, </a:t>
            </a:r>
            <a:r>
              <a:rPr lang="en-US" altLang="zh-CN" dirty="0" err="1"/>
              <a:t>Koray</a:t>
            </a:r>
            <a:r>
              <a:rPr lang="en-US" altLang="zh-CN" dirty="0"/>
              <a:t> </a:t>
            </a:r>
            <a:r>
              <a:rPr lang="en-US" altLang="zh-CN" dirty="0" err="1"/>
              <a:t>Kavukcuoglu</a:t>
            </a:r>
            <a:r>
              <a:rPr lang="en-US" altLang="zh-CN" dirty="0"/>
              <a:t>, David Silver et al. </a:t>
            </a:r>
          </a:p>
          <a:p>
            <a:r>
              <a:rPr lang="en-US" altLang="zh-CN" dirty="0"/>
              <a:t>Human-level control through deep reinforcement learning. Nature 2015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内容占位符 2">
                <a:extLst>
                  <a:ext uri="{FF2B5EF4-FFF2-40B4-BE49-F238E27FC236}">
                    <a16:creationId xmlns:a16="http://schemas.microsoft.com/office/drawing/2014/main" id="{04A2C996-D256-7FFF-30B6-EEB06C5F8A3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6555" y="3661527"/>
                <a:ext cx="7861803" cy="228932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第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𝑖</m:t>
                    </m:r>
                  </m:oMath>
                </a14:m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轮迭代中将要更新的网络参数</a:t>
                </a:r>
                <a:endParaRPr lang="en-US" altLang="zh-CN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/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通过标准的反向传播算法进行更新</a:t>
                </a:r>
                <a:endParaRPr lang="en-US" altLang="zh-CN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b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</m:sup>
                    </m:sSubSup>
                  </m:oMath>
                </a14:m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目标网络参数</a:t>
                </a:r>
                <a:endParaRPr lang="en-US" altLang="zh-CN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/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仅在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b>
                    </m:sSub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每</m:t>
                    </m:r>
                  </m:oMath>
                </a14:m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更新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𝐶</m:t>
                    </m:r>
                  </m:oMath>
                </a14:m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步后进行更新</a:t>
                </a:r>
                <a:endParaRPr lang="en-US" altLang="zh-CN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14:m>
                  <m:oMath xmlns:m="http://schemas.openxmlformats.org/officeDocument/2006/math"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p>
                          <m:sSup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p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p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′</m:t>
                            </m:r>
                          </m:sup>
                        </m:sSup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~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𝑈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𝐷</m:t>
                        </m:r>
                      </m:e>
                    </m:d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：</m:t>
                    </m:r>
                  </m:oMath>
                </a14:m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样本从经验池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𝐷</m:t>
                    </m:r>
                  </m:oMath>
                </a14:m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中均匀抽样</a:t>
                </a:r>
                <a:endParaRPr lang="en-US" altLang="zh-CN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/>
                <a:r>
                  <a:rPr lang="zh-CN" altLang="en-US" dirty="0">
                    <a:latin typeface="Cambria Math" panose="02040503050406030204" pitchFamily="18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这样做可以避免在近期经验上过拟合</a:t>
                </a:r>
                <a:endParaRPr lang="en-US" altLang="zh-CN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8" name="内容占位符 2">
                <a:extLst>
                  <a:ext uri="{FF2B5EF4-FFF2-40B4-BE49-F238E27FC236}">
                    <a16:creationId xmlns:a16="http://schemas.microsoft.com/office/drawing/2014/main" id="{04A2C996-D256-7FFF-30B6-EEB06C5F8A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555" y="3661527"/>
                <a:ext cx="7861803" cy="2289324"/>
              </a:xfrm>
              <a:prstGeom prst="rect">
                <a:avLst/>
              </a:prstGeom>
              <a:blipFill>
                <a:blip r:embed="rId3"/>
                <a:stretch>
                  <a:fillRect t="-16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内容占位符 2">
                <a:extLst>
                  <a:ext uri="{FF2B5EF4-FFF2-40B4-BE49-F238E27FC236}">
                    <a16:creationId xmlns:a16="http://schemas.microsoft.com/office/drawing/2014/main" id="{0111F46C-DCC0-26CE-4B03-3D56F64019D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6555" y="2089848"/>
                <a:ext cx="8487445" cy="90405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𝐿</m:t>
                          </m:r>
                        </m:e>
                        <m:sub>
                          <m:r>
                            <a:rPr lang="en-US" altLang="zh-CN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𝑖</m:t>
                          </m:r>
                        </m:sub>
                      </m:sSub>
                      <m:d>
                        <m:dPr>
                          <m:ctrlPr>
                            <a:rPr lang="en-US" altLang="zh-CN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zh-CN" alt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d>
                            <m:dPr>
                              <m:ctrlPr>
                                <a:rPr lang="en-US" altLang="zh-CN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  <m:r>
                                <a:rPr lang="en-US" altLang="zh-CN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𝑟</m:t>
                              </m:r>
                              <m:r>
                                <a:rPr lang="en-US" altLang="zh-CN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e>
                          </m:d>
                          <m:r>
                            <a:rPr lang="en-US" altLang="zh-CN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~</m:t>
                          </m:r>
                          <m:r>
                            <a:rPr lang="en-US" altLang="zh-CN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𝑈</m:t>
                          </m:r>
                          <m:r>
                            <a:rPr lang="en-US" altLang="zh-CN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𝐷</m:t>
                          </m:r>
                          <m:r>
                            <a:rPr lang="en-US" altLang="zh-CN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𝑟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+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𝛾</m:t>
                                  </m:r>
                                  <m:func>
                                    <m:func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funcPr>
                                    <m:fName>
                                      <m:limLow>
                                        <m:limLow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limLowPr>
                                        <m:e>
                                          <m:r>
                                            <m:rPr>
                                              <m:sty m:val="p"/>
                                            </m:rPr>
                                            <a:rPr lang="en-US" altLang="zh-CN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max</m:t>
                                          </m:r>
                                        </m:e>
                                        <m:lim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′</m:t>
                                          </m:r>
                                        </m:lim>
                                      </m:limLow>
                                    </m:fName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𝑄</m:t>
                                      </m:r>
                                      <m:d>
                                        <m:d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sSup>
                                            <m:sSup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′</m:t>
                                              </m:r>
                                            </m:sup>
                                          </m:s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,</m:t>
                                          </m:r>
                                          <m:sSup>
                                            <m:sSup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𝑎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′</m:t>
                                              </m:r>
                                            </m:sup>
                                          </m:s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;</m:t>
                                          </m:r>
                                          <m:sSubSup>
                                            <m:sSubSup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SupPr>
                                            <m:e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𝜃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𝑖</m:t>
                                              </m:r>
                                            </m:sub>
                                            <m:sup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−</m:t>
                                              </m:r>
                                            </m:sup>
                                          </m:sSubSup>
                                        </m:e>
                                      </m:d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−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𝑄</m:t>
                                      </m:r>
                                      <m:d>
                                        <m:d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,</m:t>
                                          </m:r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;</m:t>
                                          </m:r>
                                          <m:sSub>
                                            <m:sSub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𝜃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</m:e>
                                  </m:func>
                                </m:e>
                              </m:d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</m:oMath>
                  </m:oMathPara>
                </a14:m>
                <a:endParaRPr lang="en-US" altLang="zh-CN" dirty="0">
                  <a:solidFill>
                    <a:schemeClr val="tx1"/>
                  </a:solidFill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9" name="内容占位符 2">
                <a:extLst>
                  <a:ext uri="{FF2B5EF4-FFF2-40B4-BE49-F238E27FC236}">
                    <a16:creationId xmlns:a16="http://schemas.microsoft.com/office/drawing/2014/main" id="{0111F46C-DCC0-26CE-4B03-3D56F64019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555" y="2089848"/>
                <a:ext cx="8487445" cy="90405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49711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88188"/>
    </mc:Choice>
    <mc:Fallback xmlns="">
      <p:transition advTm="88188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策略梯度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7AB21FA-44AF-4420-9C0E-0D86D13D0B10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3082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353"/>
    </mc:Choice>
    <mc:Fallback xmlns="">
      <p:transition advTm="4353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参数化策略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4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我们能够将策略参数化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可以是确定性的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𝑎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也可以是随机的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𝑃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𝑎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|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;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𝜃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是策略的参数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将可见的已知状态泛化到未知的状态上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本课程中我们主要讨论的是模型无关的强化学习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  <a:blipFill>
                <a:blip r:embed="rId4"/>
                <a:stretch>
                  <a:fillRect l="-43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7752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90223"/>
    </mc:Choice>
    <mc:Fallback xmlns="">
      <p:transition advTm="90223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基于策略的强化学习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5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843471" cy="42811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优点</a:t>
            </a:r>
          </a:p>
        </p:txBody>
      </p:sp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F3446C51-BBD1-48FB-BEAD-D64AAF0AE06A}"/>
              </a:ext>
            </a:extLst>
          </p:cNvPr>
          <p:cNvSpPr txBox="1">
            <a:spLocks/>
          </p:cNvSpPr>
          <p:nvPr/>
        </p:nvSpPr>
        <p:spPr>
          <a:xfrm>
            <a:off x="502442" y="1871254"/>
            <a:ext cx="8137922" cy="18314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具有更好的收敛性质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高维度或连续的动作空间中更有效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最重要的因素：基于值函数的方法，通常需要取最大值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能够学习出随机策略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5" name="内容占位符 2">
            <a:extLst>
              <a:ext uri="{FF2B5EF4-FFF2-40B4-BE49-F238E27FC236}">
                <a16:creationId xmlns:a16="http://schemas.microsoft.com/office/drawing/2014/main" id="{22A33606-54A1-4F11-B5BC-D0AFC898F857}"/>
              </a:ext>
            </a:extLst>
          </p:cNvPr>
          <p:cNvSpPr txBox="1">
            <a:spLocks/>
          </p:cNvSpPr>
          <p:nvPr/>
        </p:nvSpPr>
        <p:spPr>
          <a:xfrm>
            <a:off x="502442" y="4448457"/>
            <a:ext cx="8137922" cy="12901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通常会收敛到局部最优而非全局最优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评估一个策略通常不够高效并具有较大的方差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variance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8" name="文本占位符 3">
            <a:extLst>
              <a:ext uri="{FF2B5EF4-FFF2-40B4-BE49-F238E27FC236}">
                <a16:creationId xmlns:a16="http://schemas.microsoft.com/office/drawing/2014/main" id="{F636DBD4-E295-43A8-B155-059430E10BF8}"/>
              </a:ext>
            </a:extLst>
          </p:cNvPr>
          <p:cNvSpPr txBox="1">
            <a:spLocks/>
          </p:cNvSpPr>
          <p:nvPr/>
        </p:nvSpPr>
        <p:spPr>
          <a:xfrm>
            <a:off x="502442" y="3861518"/>
            <a:ext cx="843471" cy="42811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缺点</a:t>
            </a:r>
          </a:p>
        </p:txBody>
      </p:sp>
    </p:spTree>
    <p:extLst>
      <p:ext uri="{BB962C8B-B14F-4D97-AF65-F5344CB8AC3E}">
        <p14:creationId xmlns:p14="http://schemas.microsoft.com/office/powerpoint/2010/main" val="354763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56808"/>
    </mc:Choice>
    <mc:Fallback xmlns="">
      <p:transition advTm="156808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策略梯度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6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随机策略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𝑃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|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;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直觉上我们应该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降低带来较低价值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/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奖励的动作出现的概率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提高带来较高价值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/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奖励的动作出现的概率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一个离散动作空间维度为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5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例子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  <a:blipFill>
                <a:blip r:embed="rId5"/>
                <a:stretch>
                  <a:fillRect l="-431" t="-6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6" name="图表 5">
            <a:extLst>
              <a:ext uri="{FF2B5EF4-FFF2-40B4-BE49-F238E27FC236}">
                <a16:creationId xmlns:a16="http://schemas.microsoft.com/office/drawing/2014/main" id="{9B2EE4AE-7F8E-41EF-B92A-F921B837DCA0}"/>
              </a:ext>
            </a:extLst>
          </p:cNvPr>
          <p:cNvGraphicFramePr>
            <a:graphicFrameLocks/>
          </p:cNvGraphicFramePr>
          <p:nvPr/>
        </p:nvGraphicFramePr>
        <p:xfrm>
          <a:off x="638411" y="3678247"/>
          <a:ext cx="2658607" cy="15951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图表 6">
            <a:extLst>
              <a:ext uri="{FF2B5EF4-FFF2-40B4-BE49-F238E27FC236}">
                <a16:creationId xmlns:a16="http://schemas.microsoft.com/office/drawing/2014/main" id="{02B6C975-8677-4891-9EB7-347BA457BAF9}"/>
              </a:ext>
            </a:extLst>
          </p:cNvPr>
          <p:cNvGraphicFramePr>
            <a:graphicFrameLocks/>
          </p:cNvGraphicFramePr>
          <p:nvPr/>
        </p:nvGraphicFramePr>
        <p:xfrm>
          <a:off x="3399732" y="3697297"/>
          <a:ext cx="2658607" cy="15951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" name="图表 7">
            <a:extLst>
              <a:ext uri="{FF2B5EF4-FFF2-40B4-BE49-F238E27FC236}">
                <a16:creationId xmlns:a16="http://schemas.microsoft.com/office/drawing/2014/main" id="{F308888D-4AEE-4462-A7D9-D7477880C333}"/>
              </a:ext>
            </a:extLst>
          </p:cNvPr>
          <p:cNvGraphicFramePr>
            <a:graphicFrameLocks/>
          </p:cNvGraphicFramePr>
          <p:nvPr/>
        </p:nvGraphicFramePr>
        <p:xfrm>
          <a:off x="6161053" y="3706822"/>
          <a:ext cx="2658607" cy="15951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11">
                <a:extLst>
                  <a:ext uri="{FF2B5EF4-FFF2-40B4-BE49-F238E27FC236}">
                    <a16:creationId xmlns:a16="http://schemas.microsoft.com/office/drawing/2014/main" id="{4C5EF9AB-7FEE-4EA2-86D4-339C3D0E8C24}"/>
                  </a:ext>
                </a:extLst>
              </p:cNvPr>
              <p:cNvSpPr txBox="1"/>
              <p:nvPr/>
            </p:nvSpPr>
            <p:spPr>
              <a:xfrm>
                <a:off x="1392269" y="3339693"/>
                <a:ext cx="1150892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zh-CN" sz="1600" dirty="0"/>
                  <a:t>1. </a:t>
                </a:r>
                <a:r>
                  <a:rPr lang="zh-CN" altLang="en-US" sz="1600" dirty="0"/>
                  <a:t>初始化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</a:rPr>
                      <m:t>𝜃</m:t>
                    </m:r>
                  </m:oMath>
                </a14:m>
                <a:endParaRPr lang="en-US" sz="1600" dirty="0"/>
              </a:p>
            </p:txBody>
          </p:sp>
        </mc:Choice>
        <mc:Fallback xmlns="">
          <p:sp>
            <p:nvSpPr>
              <p:cNvPr id="9" name="文本框 11">
                <a:extLst>
                  <a:ext uri="{FF2B5EF4-FFF2-40B4-BE49-F238E27FC236}">
                    <a16:creationId xmlns:a16="http://schemas.microsoft.com/office/drawing/2014/main" id="{4C5EF9AB-7FEE-4EA2-86D4-339C3D0E8C2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92269" y="3339693"/>
                <a:ext cx="1150892" cy="338554"/>
              </a:xfrm>
              <a:prstGeom prst="rect">
                <a:avLst/>
              </a:prstGeom>
              <a:blipFill>
                <a:blip r:embed="rId9"/>
                <a:stretch>
                  <a:fillRect l="-2116" t="-5455" b="-2363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11">
                <a:extLst>
                  <a:ext uri="{FF2B5EF4-FFF2-40B4-BE49-F238E27FC236}">
                    <a16:creationId xmlns:a16="http://schemas.microsoft.com/office/drawing/2014/main" id="{1272C984-E851-4204-AF1D-4AC139B22780}"/>
                  </a:ext>
                </a:extLst>
              </p:cNvPr>
              <p:cNvSpPr txBox="1"/>
              <p:nvPr/>
            </p:nvSpPr>
            <p:spPr>
              <a:xfrm>
                <a:off x="3776784" y="3336737"/>
                <a:ext cx="2176814" cy="3407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zh-CN" sz="1600" dirty="0"/>
                  <a:t>3. </a:t>
                </a:r>
                <a:r>
                  <a:rPr lang="zh-CN" altLang="en-US" sz="1600" dirty="0"/>
                  <a:t>根据</a:t>
                </a:r>
                <a14:m>
                  <m:oMath xmlns:m="http://schemas.openxmlformats.org/officeDocument/2006/math">
                    <m:r>
                      <a:rPr lang="zh-CN" altLang="en-US" sz="1600" b="0" i="1" dirty="0" smtClean="0">
                        <a:latin typeface="Cambria Math" panose="02040503050406030204" pitchFamily="18" charset="0"/>
                      </a:rPr>
                      <m:t>策略</m:t>
                    </m:r>
                    <m:r>
                      <a:rPr lang="zh-CN" altLang="en-US" sz="1600" i="1" dirty="0">
                        <a:latin typeface="Cambria Math" panose="02040503050406030204" pitchFamily="18" charset="0"/>
                      </a:rPr>
                      <m:t>梯度</m:t>
                    </m:r>
                    <m:r>
                      <a:rPr lang="zh-CN" altLang="en-US" sz="1600" i="1" dirty="0" smtClean="0">
                        <a:latin typeface="Cambria Math" panose="02040503050406030204" pitchFamily="18" charset="0"/>
                      </a:rPr>
                      <m:t>更新</m:t>
                    </m:r>
                    <m:r>
                      <a:rPr lang="en-US" altLang="zh-CN" sz="1600" b="0" i="1" smtClean="0">
                        <a:latin typeface="Cambria Math" panose="02040503050406030204" pitchFamily="18" charset="0"/>
                      </a:rPr>
                      <m:t>𝜃</m:t>
                    </m:r>
                  </m:oMath>
                </a14:m>
                <a:endParaRPr lang="en-US" sz="1600" dirty="0"/>
              </a:p>
            </p:txBody>
          </p:sp>
        </mc:Choice>
        <mc:Fallback xmlns="">
          <p:sp>
            <p:nvSpPr>
              <p:cNvPr id="10" name="文本框 11">
                <a:extLst>
                  <a:ext uri="{FF2B5EF4-FFF2-40B4-BE49-F238E27FC236}">
                    <a16:creationId xmlns:a16="http://schemas.microsoft.com/office/drawing/2014/main" id="{1272C984-E851-4204-AF1D-4AC139B2278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76784" y="3336737"/>
                <a:ext cx="2176814" cy="340799"/>
              </a:xfrm>
              <a:prstGeom prst="rect">
                <a:avLst/>
              </a:prstGeom>
              <a:blipFill>
                <a:blip r:embed="rId10"/>
                <a:stretch>
                  <a:fillRect l="-1120" t="-3571" b="-2321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1">
                <a:extLst>
                  <a:ext uri="{FF2B5EF4-FFF2-40B4-BE49-F238E27FC236}">
                    <a16:creationId xmlns:a16="http://schemas.microsoft.com/office/drawing/2014/main" id="{80347D5D-C273-4474-96EF-F217B1B2D5D4}"/>
                  </a:ext>
                </a:extLst>
              </p:cNvPr>
              <p:cNvSpPr txBox="1"/>
              <p:nvPr/>
            </p:nvSpPr>
            <p:spPr>
              <a:xfrm>
                <a:off x="6444584" y="3336736"/>
                <a:ext cx="2176814" cy="3407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zh-CN" sz="1600" dirty="0"/>
                  <a:t>5. </a:t>
                </a:r>
                <a:r>
                  <a:rPr lang="zh-CN" altLang="en-US" sz="1600" dirty="0"/>
                  <a:t>根据</a:t>
                </a:r>
                <a14:m>
                  <m:oMath xmlns:m="http://schemas.openxmlformats.org/officeDocument/2006/math">
                    <m:r>
                      <a:rPr lang="zh-CN" altLang="en-US" sz="1600" b="0" i="1" dirty="0" smtClean="0">
                        <a:latin typeface="Cambria Math" panose="02040503050406030204" pitchFamily="18" charset="0"/>
                      </a:rPr>
                      <m:t>策略</m:t>
                    </m:r>
                    <m:r>
                      <a:rPr lang="zh-CN" altLang="en-US" sz="1600" i="1" dirty="0" smtClean="0">
                        <a:latin typeface="Cambria Math" panose="02040503050406030204" pitchFamily="18" charset="0"/>
                      </a:rPr>
                      <m:t>梯度更新</m:t>
                    </m:r>
                    <m:r>
                      <a:rPr lang="en-US" altLang="zh-CN" sz="1600" b="0" i="1" smtClean="0">
                        <a:latin typeface="Cambria Math" panose="02040503050406030204" pitchFamily="18" charset="0"/>
                      </a:rPr>
                      <m:t>𝜃</m:t>
                    </m:r>
                  </m:oMath>
                </a14:m>
                <a:endParaRPr lang="en-US" sz="1600" dirty="0"/>
              </a:p>
            </p:txBody>
          </p:sp>
        </mc:Choice>
        <mc:Fallback xmlns="">
          <p:sp>
            <p:nvSpPr>
              <p:cNvPr id="11" name="文本框 11">
                <a:extLst>
                  <a:ext uri="{FF2B5EF4-FFF2-40B4-BE49-F238E27FC236}">
                    <a16:creationId xmlns:a16="http://schemas.microsoft.com/office/drawing/2014/main" id="{80347D5D-C273-4474-96EF-F217B1B2D5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44584" y="3336736"/>
                <a:ext cx="2176814" cy="340799"/>
              </a:xfrm>
              <a:prstGeom prst="rect">
                <a:avLst/>
              </a:prstGeom>
              <a:blipFill>
                <a:blip r:embed="rId11"/>
                <a:stretch>
                  <a:fillRect l="-840" t="-3571" b="-2321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文本框 8">
            <a:extLst>
              <a:ext uri="{FF2B5EF4-FFF2-40B4-BE49-F238E27FC236}">
                <a16:creationId xmlns:a16="http://schemas.microsoft.com/office/drawing/2014/main" id="{2344306F-21ED-4912-AF42-ED911826B070}"/>
              </a:ext>
            </a:extLst>
          </p:cNvPr>
          <p:cNvSpPr txBox="1"/>
          <p:nvPr/>
        </p:nvSpPr>
        <p:spPr>
          <a:xfrm>
            <a:off x="2654839" y="5434213"/>
            <a:ext cx="16209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600" dirty="0"/>
              <a:t>2. </a:t>
            </a:r>
            <a:r>
              <a:rPr lang="zh-CN" altLang="en-US" sz="1600" dirty="0"/>
              <a:t>采取动作</a:t>
            </a:r>
            <a:r>
              <a:rPr lang="en-US" altLang="zh-CN" sz="1600" dirty="0"/>
              <a:t>A2</a:t>
            </a:r>
          </a:p>
          <a:p>
            <a:pPr algn="ctr"/>
            <a:r>
              <a:rPr lang="zh-CN" altLang="en-US" sz="1600" dirty="0"/>
              <a:t>观察到正的奖励</a:t>
            </a:r>
            <a:endParaRPr lang="en-US" sz="1600" dirty="0"/>
          </a:p>
        </p:txBody>
      </p:sp>
      <p:sp>
        <p:nvSpPr>
          <p:cNvPr id="13" name="文本框 8">
            <a:extLst>
              <a:ext uri="{FF2B5EF4-FFF2-40B4-BE49-F238E27FC236}">
                <a16:creationId xmlns:a16="http://schemas.microsoft.com/office/drawing/2014/main" id="{CAD7C2C8-7127-40A1-9998-3197B45C9831}"/>
              </a:ext>
            </a:extLst>
          </p:cNvPr>
          <p:cNvSpPr txBox="1"/>
          <p:nvPr/>
        </p:nvSpPr>
        <p:spPr>
          <a:xfrm>
            <a:off x="5350574" y="5422357"/>
            <a:ext cx="16209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600" dirty="0"/>
              <a:t>4. </a:t>
            </a:r>
            <a:r>
              <a:rPr lang="zh-CN" altLang="en-US" sz="1600" dirty="0"/>
              <a:t>采取动作</a:t>
            </a:r>
            <a:r>
              <a:rPr lang="en-US" altLang="zh-CN" sz="1600" dirty="0"/>
              <a:t>A3</a:t>
            </a:r>
          </a:p>
          <a:p>
            <a:pPr algn="ctr"/>
            <a:r>
              <a:rPr lang="zh-CN" altLang="en-US" sz="1600" dirty="0"/>
              <a:t>观察到负的奖励</a:t>
            </a:r>
            <a:endParaRPr lang="en-US" sz="1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76533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17531"/>
    </mc:Choice>
    <mc:Fallback xmlns="">
      <p:transition advTm="11753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Graphic spid="8" grpId="0">
        <p:bldAsOne/>
      </p:bldGraphic>
      <p:bldP spid="10" grpId="0"/>
      <p:bldP spid="11" grpId="0"/>
      <p:bldP spid="12" grpId="0"/>
      <p:bldP spid="13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单步马尔可夫决策过程中的策略梯度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7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考虑一个简单的单步马尔可夫决策过程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起始状态为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~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𝑑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决策过程在进行一步决策后结束，获得奖励值为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𝑎</m:t>
                        </m:r>
                      </m:sub>
                    </m:sSub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的价值期望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zh-CN" alt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𝑟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∈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𝑆</m:t>
                          </m:r>
                        </m:sub>
                        <m:sup/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𝑑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∈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𝐴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𝑎</m:t>
                                  </m:r>
                                </m:sub>
                              </m:sSub>
                            </m:e>
                          </m:nary>
                        </m:e>
                      </m:nary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𝐽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∈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𝑆</m:t>
                          </m:r>
                        </m:sub>
                        <m:sup/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𝑑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∈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𝐴</m:t>
                              </m:r>
                            </m:sub>
                            <m:sup/>
                            <m:e>
                              <m:f>
                                <m:f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</m:t>
                                  </m:r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|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)</m:t>
                                  </m:r>
                                </m:num>
                                <m:den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𝑎</m:t>
                                  </m:r>
                                </m:sub>
                              </m:sSub>
                            </m:e>
                          </m:nary>
                        </m:e>
                      </m:nary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  <a:blipFill>
                <a:blip r:embed="rId4"/>
                <a:stretch>
                  <a:fillRect l="-43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89100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90244"/>
    </mc:Choice>
    <mc:Fallback xmlns="">
      <p:transition advTm="90244"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似然比</a:t>
            </a:r>
            <a:r>
              <a:rPr lang="en-US" altLang="zh-CN" dirty="0"/>
              <a:t> (Likelihood Ratio)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8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540684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似然比利用下列特性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eqArrPr>
                        <m:e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1</m:t>
                              </m:r>
                            </m:num>
                            <m:den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den>
                          </m:f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log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</m:eqAr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所以策略的价值期望可以写成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𝑟</m:t>
                          </m:r>
                        </m:e>
                      </m:d>
                      <m:r>
                        <a:rPr lang="en-US" altLang="zh-CN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∈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𝑆</m:t>
                          </m:r>
                        </m:sub>
                        <m:sup/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𝑑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∈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𝐴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𝑎</m:t>
                                  </m:r>
                                </m:sub>
                              </m:sSub>
                            </m:e>
                          </m:nary>
                        </m:e>
                      </m:nary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eqArrPr>
                        <m:e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𝐽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∈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𝑆</m:t>
                              </m:r>
                            </m:sub>
                            <m:sup/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𝑑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e>
                          </m:nary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∈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𝐴</m:t>
                              </m:r>
                            </m:sub>
                            <m:sup/>
                            <m:e>
                              <m:f>
                                <m:fPr>
                                  <m:ctrlPr>
                                    <a:rPr lang="en-US" altLang="zh-CN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</m:t>
                                  </m:r>
                                  <m:sSub>
                                    <m:sSubPr>
                                      <m:ctrlP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e>
                                      <m:r>
                                        <a:rPr lang="en-US" altLang="zh-CN" i="1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</m:d>
                                </m:num>
                                <m:den>
                                  <m:r>
                                    <a:rPr lang="en-US" altLang="zh-CN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  <m:sSub>
                                <m:sSubPr>
                                  <m:ctrlPr>
                                    <a:rPr lang="en-US" altLang="zh-CN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𝑎</m:t>
                                  </m:r>
                                </m:sub>
                              </m:sSub>
                            </m:e>
                          </m:nary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&amp;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∈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𝑆</m:t>
                              </m:r>
                            </m:sub>
                            <m:sup/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𝑑</m:t>
                              </m:r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e>
                          </m:nary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∈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𝐴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e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  <m:f>
                                <m:fPr>
                                  <m:ctrlPr>
                                    <a:rPr lang="en-US" altLang="zh-CN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log</m:t>
                                  </m:r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e>
                                      <m:r>
                                        <a:rPr lang="en-US" altLang="zh-CN" b="0" i="1" smtClean="0">
                                          <a:solidFill>
                                            <a:srgbClr val="FF000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</m:d>
                                </m:num>
                                <m:den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𝑎</m:t>
                                  </m:r>
                                </m:sub>
                              </m:sSub>
                            </m:e>
                          </m:nary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&amp;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𝔼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sub>
                              </m:sSub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begChr m:val="["/>
                              <m:endChr m:val="]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log</m:t>
                                  </m:r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</m:d>
                                </m:num>
                                <m:den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𝑎</m:t>
                                  </m:r>
                                </m:sub>
                              </m:sSub>
                            </m:e>
                          </m:d>
                        </m:e>
                      </m:eqArr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5406848"/>
              </a:xfrm>
              <a:prstGeom prst="rect">
                <a:avLst/>
              </a:prstGeom>
              <a:blipFill>
                <a:blip r:embed="rId4"/>
                <a:stretch>
                  <a:fillRect l="-431" t="-5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矩形 9">
            <a:extLst>
              <a:ext uri="{FF2B5EF4-FFF2-40B4-BE49-F238E27FC236}">
                <a16:creationId xmlns:a16="http://schemas.microsoft.com/office/drawing/2014/main" id="{9733039A-8FDA-4A56-A42E-1F61E1B13B47}"/>
              </a:ext>
            </a:extLst>
          </p:cNvPr>
          <p:cNvSpPr/>
          <p:nvPr/>
        </p:nvSpPr>
        <p:spPr>
          <a:xfrm>
            <a:off x="5445309" y="4765057"/>
            <a:ext cx="1736324" cy="679269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矩形 10">
            <a:extLst>
              <a:ext uri="{FF2B5EF4-FFF2-40B4-BE49-F238E27FC236}">
                <a16:creationId xmlns:a16="http://schemas.microsoft.com/office/drawing/2014/main" id="{8C19973C-2B77-4088-A7D6-0661C090FC98}"/>
              </a:ext>
            </a:extLst>
          </p:cNvPr>
          <p:cNvSpPr/>
          <p:nvPr/>
        </p:nvSpPr>
        <p:spPr>
          <a:xfrm>
            <a:off x="6575759" y="3511169"/>
            <a:ext cx="345791" cy="269819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直接连接符 12">
            <a:extLst>
              <a:ext uri="{FF2B5EF4-FFF2-40B4-BE49-F238E27FC236}">
                <a16:creationId xmlns:a16="http://schemas.microsoft.com/office/drawing/2014/main" id="{719D1E3C-C2B5-458B-BA42-0F1C38B53DF1}"/>
              </a:ext>
            </a:extLst>
          </p:cNvPr>
          <p:cNvCxnSpPr/>
          <p:nvPr/>
        </p:nvCxnSpPr>
        <p:spPr>
          <a:xfrm>
            <a:off x="6757539" y="3780988"/>
            <a:ext cx="0" cy="984069"/>
          </a:xfrm>
          <a:prstGeom prst="line">
            <a:avLst/>
          </a:prstGeom>
          <a:ln w="12700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13">
                <a:extLst>
                  <a:ext uri="{FF2B5EF4-FFF2-40B4-BE49-F238E27FC236}">
                    <a16:creationId xmlns:a16="http://schemas.microsoft.com/office/drawing/2014/main" id="{0D9278AA-550E-4E13-9D85-73E43C56C4B8}"/>
                  </a:ext>
                </a:extLst>
              </p:cNvPr>
              <p:cNvSpPr txBox="1"/>
              <p:nvPr/>
            </p:nvSpPr>
            <p:spPr>
              <a:xfrm>
                <a:off x="5601244" y="5550007"/>
                <a:ext cx="3542756" cy="6936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2000" baseline="-25000" dirty="0">
                    <a:latin typeface="Alibaba PuHuiTi"/>
                  </a:rPr>
                  <a:t>这一结果可以通过从</a:t>
                </a:r>
                <a:r>
                  <a:rPr lang="en-US" altLang="zh-CN" sz="2000" baseline="-25000" dirty="0">
                    <a:latin typeface="Alibaba PuHuiTi"/>
                  </a:rPr>
                  <a:t>d(s)</a:t>
                </a:r>
                <a:r>
                  <a:rPr lang="zh-CN" altLang="en-US" sz="2000" baseline="-25000" dirty="0">
                    <a:latin typeface="Alibaba PuHuiTi"/>
                  </a:rPr>
                  <a:t>中采样状态</a:t>
                </a:r>
                <a14:m>
                  <m:oMath xmlns:m="http://schemas.openxmlformats.org/officeDocument/2006/math">
                    <m:r>
                      <a:rPr lang="en-US" altLang="zh-CN" sz="2000" b="0" i="1" baseline="-25000" smtClean="0">
                        <a:latin typeface="Cambria Math" panose="02040503050406030204" pitchFamily="18" charset="0"/>
                      </a:rPr>
                      <m:t>𝑠</m:t>
                    </m:r>
                  </m:oMath>
                </a14:m>
                <a:r>
                  <a:rPr lang="zh-CN" altLang="en-US" sz="2000" baseline="-25000" dirty="0">
                    <a:latin typeface="Alibaba PuHuiTi"/>
                  </a:rPr>
                  <a:t>和从</a:t>
                </a:r>
                <a:r>
                  <a:rPr lang="en-US" altLang="zh-CN" sz="2000" baseline="-25000" dirty="0">
                    <a:latin typeface="Alibaba PuHuiTi"/>
                  </a:rPr>
                  <a:t>πθ</a:t>
                </a:r>
                <a:r>
                  <a:rPr lang="zh-CN" altLang="en-US" sz="2000" baseline="-25000" dirty="0">
                    <a:latin typeface="Alibaba PuHuiTi"/>
                  </a:rPr>
                  <a:t>中采样动作</a:t>
                </a:r>
                <a14:m>
                  <m:oMath xmlns:m="http://schemas.openxmlformats.org/officeDocument/2006/math">
                    <m:r>
                      <a:rPr lang="en-US" altLang="zh-CN" sz="2000" b="0" i="1" baseline="-25000" smtClean="0">
                        <a:latin typeface="Cambria Math" panose="02040503050406030204" pitchFamily="18" charset="0"/>
                      </a:rPr>
                      <m:t>𝑎</m:t>
                    </m:r>
                  </m:oMath>
                </a14:m>
                <a:r>
                  <a:rPr lang="zh-CN" altLang="en-US" sz="2000" baseline="-25000" dirty="0">
                    <a:latin typeface="Alibaba PuHuiTi"/>
                  </a:rPr>
                  <a:t>来近似估计</a:t>
                </a:r>
                <a:endParaRPr lang="en-US" sz="2000" baseline="-25000" dirty="0">
                  <a:latin typeface="Alibaba PuHuiTi"/>
                </a:endParaRPr>
              </a:p>
            </p:txBody>
          </p:sp>
        </mc:Choice>
        <mc:Fallback xmlns="">
          <p:sp>
            <p:nvSpPr>
              <p:cNvPr id="9" name="文本框 13">
                <a:extLst>
                  <a:ext uri="{FF2B5EF4-FFF2-40B4-BE49-F238E27FC236}">
                    <a16:creationId xmlns:a16="http://schemas.microsoft.com/office/drawing/2014/main" id="{0D9278AA-550E-4E13-9D85-73E43C56C4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01244" y="5550007"/>
                <a:ext cx="3542756" cy="693651"/>
              </a:xfrm>
              <a:prstGeom prst="rect">
                <a:avLst/>
              </a:prstGeom>
              <a:blipFill>
                <a:blip r:embed="rId5"/>
                <a:stretch>
                  <a:fillRect l="-516" b="-1228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89991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34936"/>
    </mc:Choice>
    <mc:Fallback xmlns="">
      <p:transition advTm="134936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策略梯度定理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9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540684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梯度定理把似然比的推导过程泛化到多步马尔可夫决策过程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用长期的价值函数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</m:e>
                      <m:sup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𝜋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</m:sup>
                    </m:sSup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代替前面的瞬时奖励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𝑟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𝑎</m:t>
                        </m:r>
                      </m:sub>
                    </m:sSub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梯度定理涉及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起始状态目标</a:t>
                </a:r>
                <a14:m>
                  <m:oMath xmlns:m="http://schemas.openxmlformats.org/officeDocument/2006/math">
                    <m:r>
                      <a:rPr lang="zh-CN" altLang="en-US" b="0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函数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𝐽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平均奖励目标函数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𝐽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𝑣𝑅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和平均价值目标函数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𝐽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𝑣𝑉</m:t>
                        </m:r>
                      </m:sub>
                    </m:sSub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定理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任意可微的策略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|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任意策略的目标函数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𝐽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𝐽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𝐽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𝑣𝑅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𝐽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𝑣𝑉</m:t>
                        </m:r>
                      </m:sub>
                    </m:sSub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，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其策略梯度是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𝐽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zh-CN" alt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log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</m:sup>
                          </m:s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5406848"/>
              </a:xfrm>
              <a:prstGeom prst="rect">
                <a:avLst/>
              </a:prstGeom>
              <a:blipFill>
                <a:blip r:embed="rId4"/>
                <a:stretch>
                  <a:fillRect l="-431" t="-5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extBox 2">
            <a:extLst>
              <a:ext uri="{FF2B5EF4-FFF2-40B4-BE49-F238E27FC236}">
                <a16:creationId xmlns:a16="http://schemas.microsoft.com/office/drawing/2014/main" id="{BDF9B5CE-8052-4A37-B44F-81611A16FD98}"/>
              </a:ext>
            </a:extLst>
          </p:cNvPr>
          <p:cNvSpPr txBox="1"/>
          <p:nvPr/>
        </p:nvSpPr>
        <p:spPr>
          <a:xfrm>
            <a:off x="999140" y="5475703"/>
            <a:ext cx="7284601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00B0F0"/>
                </a:solidFill>
              </a:rPr>
              <a:t>详细证明过程请参考</a:t>
            </a:r>
            <a:r>
              <a:rPr lang="en-US" altLang="zh-CN" sz="1600" dirty="0">
                <a:solidFill>
                  <a:srgbClr val="00B0F0"/>
                </a:solidFill>
              </a:rPr>
              <a:t>: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sz="1600" dirty="0">
                <a:solidFill>
                  <a:srgbClr val="00B0F0"/>
                </a:solidFill>
              </a:rPr>
              <a:t>Rich Sutton’s Reinforcement Learning: An Introduction (2</a:t>
            </a:r>
            <a:r>
              <a:rPr lang="en-US" altLang="zh-CN" sz="1600" baseline="30000" dirty="0">
                <a:solidFill>
                  <a:srgbClr val="00B0F0"/>
                </a:solidFill>
              </a:rPr>
              <a:t>nd</a:t>
            </a:r>
            <a:r>
              <a:rPr lang="en-US" altLang="zh-CN" sz="1600" dirty="0">
                <a:solidFill>
                  <a:srgbClr val="00B0F0"/>
                </a:solidFill>
              </a:rPr>
              <a:t> Edition)</a:t>
            </a:r>
            <a:r>
              <a:rPr lang="zh-CN" altLang="en-US" sz="1600" dirty="0">
                <a:solidFill>
                  <a:srgbClr val="00B0F0"/>
                </a:solidFill>
              </a:rPr>
              <a:t>第</a:t>
            </a:r>
            <a:r>
              <a:rPr lang="en-US" altLang="zh-CN" sz="1600" dirty="0">
                <a:solidFill>
                  <a:srgbClr val="00B0F0"/>
                </a:solidFill>
              </a:rPr>
              <a:t>13</a:t>
            </a:r>
            <a:r>
              <a:rPr lang="zh-CN" altLang="en-US" sz="1600" dirty="0">
                <a:solidFill>
                  <a:srgbClr val="00B0F0"/>
                </a:solidFill>
              </a:rPr>
              <a:t>章</a:t>
            </a:r>
            <a:endParaRPr lang="en-US" altLang="zh-CN" sz="1600" dirty="0">
              <a:solidFill>
                <a:srgbClr val="00B0F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zh-CN" altLang="en-US" sz="1600" dirty="0">
                <a:solidFill>
                  <a:srgbClr val="00B0F0"/>
                </a:solidFill>
              </a:rPr>
              <a:t>动手学强化学习策略梯度的附录</a:t>
            </a:r>
            <a:r>
              <a:rPr lang="en-US" altLang="zh-CN" sz="1000" dirty="0">
                <a:solidFill>
                  <a:srgbClr val="00B0F0"/>
                </a:solidFill>
                <a:hlinkClick r:id="rId5"/>
              </a:rPr>
              <a:t>https://hrl.boyuai.com/chapter/2/%E7%AD%96%E7%95%A5%E6%A2%AF%E5%BA%A6%E7%AE%97%E6%B3%95/</a:t>
            </a:r>
            <a:r>
              <a:rPr lang="en-US" altLang="zh-CN" sz="1000" dirty="0">
                <a:solidFill>
                  <a:srgbClr val="00B0F0"/>
                </a:solidFill>
              </a:rPr>
              <a:t> </a:t>
            </a:r>
            <a:endParaRPr lang="zh-CN" altLang="en-US" sz="16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760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70631"/>
    </mc:Choice>
    <mc:Fallback xmlns="">
      <p:transition advTm="7063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参数化价值函数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9924C768-6BFF-4B4F-A879-5BBA8637BEE7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5683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6360"/>
    </mc:Choice>
    <mc:Fallback xmlns="">
      <p:transition advTm="6360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蒙特卡洛策略梯度（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REINFORCE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0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260605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利用随机梯度上升更新参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利用策略梯度定理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利用累计奖励值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𝐺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作为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</m:e>
                      <m:sup>
                        <m:sSub>
                          <m:sSubPr>
                            <m:ctrlPr>
                              <a:rPr lang="en-US" altLang="zh-CN" b="0" i="1" dirty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dirty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𝜋</m:t>
                            </m:r>
                          </m:e>
                          <m:sub>
                            <m:r>
                              <a:rPr lang="en-US" altLang="zh-CN" b="0" i="1" dirty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𝜃</m:t>
                            </m:r>
                          </m:sub>
                        </m:sSub>
                      </m:sup>
                    </m:sSup>
                    <m:d>
                      <m:d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</m:d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无偏采样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altLang="zh-CN" b="0" i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Δ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𝛼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log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|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𝐺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REINFORCE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算法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2606059"/>
              </a:xfrm>
              <a:prstGeom prst="rect">
                <a:avLst/>
              </a:prstGeom>
              <a:blipFill>
                <a:blip r:embed="rId2"/>
                <a:stretch>
                  <a:fillRect l="-431" t="-1168" b="-233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内容占位符 2">
                <a:extLst>
                  <a:ext uri="{FF2B5EF4-FFF2-40B4-BE49-F238E27FC236}">
                    <a16:creationId xmlns:a16="http://schemas.microsoft.com/office/drawing/2014/main" id="{F193DD8F-3570-EC24-2AEE-B4DFBB76D8D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25817" y="3951151"/>
                <a:ext cx="6235242" cy="260605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914400" lvl="2" indent="0">
                  <a:buNone/>
                </a:pPr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initialize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arbitrarily</a:t>
                </a:r>
              </a:p>
              <a:p>
                <a:pPr marL="914400" lvl="2" indent="0">
                  <a:buNone/>
                </a:pPr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for each episode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}"/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s</m:t>
                            </m:r>
                          </m:e>
                          <m:sub>
                            <m: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</m:t>
                            </m:r>
                          </m:sub>
                        </m:sSub>
                        <m:r>
                          <a:rPr lang="en-US" altLang="zh-CN" b="0" i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a</m:t>
                            </m:r>
                          </m:e>
                          <m:sub>
                            <m: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</m:t>
                            </m:r>
                          </m:sub>
                        </m:sSub>
                        <m:r>
                          <a:rPr lang="en-US" altLang="zh-CN" b="0" i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r</m:t>
                            </m:r>
                          </m:e>
                          <m:sub>
                            <m: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2</m:t>
                            </m:r>
                          </m:sub>
                        </m:sSub>
                        <m:r>
                          <a:rPr lang="en-US" altLang="zh-CN" b="0" i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…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s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T</m:t>
                            </m:r>
                            <m: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−1</m:t>
                            </m:r>
                          </m:sub>
                        </m:sSub>
                        <m:r>
                          <a:rPr lang="en-US" altLang="zh-CN" b="0" i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a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T</m:t>
                            </m:r>
                            <m: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−1</m:t>
                            </m:r>
                          </m:sub>
                        </m:sSub>
                        <m:r>
                          <a:rPr lang="en-US" altLang="zh-CN" b="0" i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r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𝑇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~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</m:oMath>
                </a14:m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do</a:t>
                </a:r>
              </a:p>
              <a:p>
                <a:pPr marL="914400" lvl="2" indent="0">
                  <a:buNone/>
                </a:pPr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for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𝑡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1</m:t>
                    </m:r>
                  </m:oMath>
                </a14:m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to 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𝑇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−1</m:t>
                    </m:r>
                  </m:oMath>
                </a14:m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do</a:t>
                </a:r>
              </a:p>
              <a:p>
                <a:pPr marL="914400" lvl="2" indent="0">
                  <a:buNone/>
                </a:pPr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	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←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+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𝛼</m:t>
                    </m:r>
                    <m:f>
                      <m:f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fPr>
                      <m:num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𝜕</m:t>
                        </m:r>
                      </m:num>
                      <m:den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𝜕𝜃</m:t>
                        </m:r>
                      </m:den>
                    </m:f>
                    <m:r>
                      <m:rPr>
                        <m:sty m:val="p"/>
                      </m:rP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</a:rPr>
                      <m:t>log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𝑡</m:t>
                            </m:r>
                          </m:sub>
                        </m:sSub>
                      </m:e>
                    </m:d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𝐺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</m:oMath>
                </a14:m>
                <a:endParaRPr lang="en-US" altLang="zh-CN" dirty="0">
                  <a:latin typeface="Consolas" panose="020B0609020204030204" pitchFamily="49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914400" lvl="2" indent="0">
                  <a:buNone/>
                </a:pPr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end for</a:t>
                </a:r>
              </a:p>
              <a:p>
                <a:pPr marL="914400" lvl="2" indent="0">
                  <a:buNone/>
                </a:pPr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end for</a:t>
                </a:r>
              </a:p>
              <a:p>
                <a:pPr marL="914400" lvl="2" indent="0">
                  <a:buNone/>
                </a:pPr>
                <a:r>
                  <a:rPr lang="en-US" altLang="zh-CN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return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7" name="内容占位符 2">
                <a:extLst>
                  <a:ext uri="{FF2B5EF4-FFF2-40B4-BE49-F238E27FC236}">
                    <a16:creationId xmlns:a16="http://schemas.microsoft.com/office/drawing/2014/main" id="{F193DD8F-3570-EC24-2AEE-B4DFBB76D8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5817" y="3951151"/>
                <a:ext cx="6235242" cy="2606059"/>
              </a:xfrm>
              <a:prstGeom prst="rect">
                <a:avLst/>
              </a:prstGeom>
              <a:blipFill>
                <a:blip r:embed="rId3"/>
                <a:stretch>
                  <a:fillRect t="-93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矩形 2">
            <a:extLst>
              <a:ext uri="{FF2B5EF4-FFF2-40B4-BE49-F238E27FC236}">
                <a16:creationId xmlns:a16="http://schemas.microsoft.com/office/drawing/2014/main" id="{B8FD0C1C-0E62-1018-CF63-53C7E7B82CCC}"/>
              </a:ext>
            </a:extLst>
          </p:cNvPr>
          <p:cNvSpPr/>
          <p:nvPr/>
        </p:nvSpPr>
        <p:spPr>
          <a:xfrm>
            <a:off x="1624263" y="3886200"/>
            <a:ext cx="5745079" cy="2478505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55817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31716"/>
    </mc:Choice>
    <mc:Fallback xmlns="">
      <p:transition advTm="131716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蒙特卡洛策略梯度（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REINFORCE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1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155012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altLang="zh-CN" b="0" i="0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Δ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𝛼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</m:t>
                          </m:r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log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|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𝐺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Consolas" panose="020B0609020204030204" pitchFamily="49" charset="0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可通过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多次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roll-out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𝐺</m:t>
                    </m:r>
                    <m:r>
                      <a:rPr lang="en-US" altLang="zh-CN" i="1" baseline="-25000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𝑡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平均值来逼近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i="1" dirty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i="1" dirty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i="1" dirty="0" err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Consolas" panose="020B0609020204030204" pitchFamily="49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1550123"/>
              </a:xfrm>
              <a:prstGeom prst="rect">
                <a:avLst/>
              </a:prstGeom>
              <a:blipFill>
                <a:blip r:embed="rId2"/>
                <a:stretch>
                  <a:fillRect l="-43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椭圆 6">
            <a:extLst>
              <a:ext uri="{FF2B5EF4-FFF2-40B4-BE49-F238E27FC236}">
                <a16:creationId xmlns:a16="http://schemas.microsoft.com/office/drawing/2014/main" id="{99710B56-49AA-4598-970A-1C2667CCCEA5}"/>
              </a:ext>
            </a:extLst>
          </p:cNvPr>
          <p:cNvSpPr/>
          <p:nvPr/>
        </p:nvSpPr>
        <p:spPr>
          <a:xfrm>
            <a:off x="1306792" y="3308498"/>
            <a:ext cx="241004" cy="24100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BD036891-7F87-4F7F-97C8-2BBDB617F01D}"/>
              </a:ext>
            </a:extLst>
          </p:cNvPr>
          <p:cNvSpPr/>
          <p:nvPr/>
        </p:nvSpPr>
        <p:spPr>
          <a:xfrm>
            <a:off x="2093601" y="3308498"/>
            <a:ext cx="241004" cy="241004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5EF90A2E-03CD-469E-8EDC-770393D50B51}"/>
              </a:ext>
            </a:extLst>
          </p:cNvPr>
          <p:cNvSpPr/>
          <p:nvPr/>
        </p:nvSpPr>
        <p:spPr>
          <a:xfrm>
            <a:off x="2880410" y="3308498"/>
            <a:ext cx="241004" cy="24100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DFD049D4-2ED1-4B1F-88EC-5A75A0D8FA34}"/>
              </a:ext>
            </a:extLst>
          </p:cNvPr>
          <p:cNvSpPr/>
          <p:nvPr/>
        </p:nvSpPr>
        <p:spPr>
          <a:xfrm>
            <a:off x="3667219" y="3308498"/>
            <a:ext cx="241004" cy="241004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FCAFD9B2-50DC-42C0-98AA-423A90389D84}"/>
              </a:ext>
            </a:extLst>
          </p:cNvPr>
          <p:cNvSpPr/>
          <p:nvPr/>
        </p:nvSpPr>
        <p:spPr>
          <a:xfrm>
            <a:off x="4454028" y="3308498"/>
            <a:ext cx="241004" cy="24100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椭圆 11">
            <a:extLst>
              <a:ext uri="{FF2B5EF4-FFF2-40B4-BE49-F238E27FC236}">
                <a16:creationId xmlns:a16="http://schemas.microsoft.com/office/drawing/2014/main" id="{721BB6F4-6809-44D2-8FD4-97B762D1DA7D}"/>
              </a:ext>
            </a:extLst>
          </p:cNvPr>
          <p:cNvSpPr/>
          <p:nvPr/>
        </p:nvSpPr>
        <p:spPr>
          <a:xfrm>
            <a:off x="5240837" y="3308498"/>
            <a:ext cx="241004" cy="241004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DEF3ECB4-34CC-442F-9BBE-5280BFEA5AC4}"/>
              </a:ext>
            </a:extLst>
          </p:cNvPr>
          <p:cNvSpPr/>
          <p:nvPr/>
        </p:nvSpPr>
        <p:spPr>
          <a:xfrm>
            <a:off x="6027646" y="3308498"/>
            <a:ext cx="241004" cy="24100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6F17976D-9DFE-4CB1-A2CA-7F49EB8883BA}"/>
              </a:ext>
            </a:extLst>
          </p:cNvPr>
          <p:cNvSpPr/>
          <p:nvPr/>
        </p:nvSpPr>
        <p:spPr>
          <a:xfrm>
            <a:off x="6814457" y="3308498"/>
            <a:ext cx="241004" cy="241004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7" name="直接箭头连接符 16">
            <a:extLst>
              <a:ext uri="{FF2B5EF4-FFF2-40B4-BE49-F238E27FC236}">
                <a16:creationId xmlns:a16="http://schemas.microsoft.com/office/drawing/2014/main" id="{382C812A-F874-4AE8-83CF-FC96732240BF}"/>
              </a:ext>
            </a:extLst>
          </p:cNvPr>
          <p:cNvCxnSpPr>
            <a:stCxn id="7" idx="6"/>
            <a:endCxn id="8" idx="2"/>
          </p:cNvCxnSpPr>
          <p:nvPr/>
        </p:nvCxnSpPr>
        <p:spPr>
          <a:xfrm>
            <a:off x="1547796" y="3429000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>
            <a:extLst>
              <a:ext uri="{FF2B5EF4-FFF2-40B4-BE49-F238E27FC236}">
                <a16:creationId xmlns:a16="http://schemas.microsoft.com/office/drawing/2014/main" id="{DB3F4A32-1FE0-4C3D-9CF1-2DB9BA7BDF5B}"/>
              </a:ext>
            </a:extLst>
          </p:cNvPr>
          <p:cNvCxnSpPr/>
          <p:nvPr/>
        </p:nvCxnSpPr>
        <p:spPr>
          <a:xfrm>
            <a:off x="2334605" y="3429000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CEC37B4A-9D50-45F5-86F6-0041DF679D5C}"/>
              </a:ext>
            </a:extLst>
          </p:cNvPr>
          <p:cNvCxnSpPr/>
          <p:nvPr/>
        </p:nvCxnSpPr>
        <p:spPr>
          <a:xfrm>
            <a:off x="3121414" y="3429000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973456B9-412F-45AE-AC9A-D2216CA6F98D}"/>
              </a:ext>
            </a:extLst>
          </p:cNvPr>
          <p:cNvCxnSpPr/>
          <p:nvPr/>
        </p:nvCxnSpPr>
        <p:spPr>
          <a:xfrm>
            <a:off x="3908223" y="3429000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A68D9D07-711F-404E-BCF4-ECE6AD50B165}"/>
              </a:ext>
            </a:extLst>
          </p:cNvPr>
          <p:cNvCxnSpPr/>
          <p:nvPr/>
        </p:nvCxnSpPr>
        <p:spPr>
          <a:xfrm>
            <a:off x="4695032" y="3429000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箭头连接符 21">
            <a:extLst>
              <a:ext uri="{FF2B5EF4-FFF2-40B4-BE49-F238E27FC236}">
                <a16:creationId xmlns:a16="http://schemas.microsoft.com/office/drawing/2014/main" id="{842F9A84-14A6-435F-B7B5-930D26715FF2}"/>
              </a:ext>
            </a:extLst>
          </p:cNvPr>
          <p:cNvCxnSpPr/>
          <p:nvPr/>
        </p:nvCxnSpPr>
        <p:spPr>
          <a:xfrm>
            <a:off x="5481841" y="3429000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2221F670-D86E-4FFA-83DC-757F068B195E}"/>
              </a:ext>
            </a:extLst>
          </p:cNvPr>
          <p:cNvCxnSpPr/>
          <p:nvPr/>
        </p:nvCxnSpPr>
        <p:spPr>
          <a:xfrm>
            <a:off x="6268650" y="3429000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箭头连接符 23">
            <a:extLst>
              <a:ext uri="{FF2B5EF4-FFF2-40B4-BE49-F238E27FC236}">
                <a16:creationId xmlns:a16="http://schemas.microsoft.com/office/drawing/2014/main" id="{615A8319-43A7-46B9-8B21-0AF6979F0F41}"/>
              </a:ext>
            </a:extLst>
          </p:cNvPr>
          <p:cNvCxnSpPr/>
          <p:nvPr/>
        </p:nvCxnSpPr>
        <p:spPr>
          <a:xfrm>
            <a:off x="7055459" y="3429000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矩形 24">
            <a:extLst>
              <a:ext uri="{FF2B5EF4-FFF2-40B4-BE49-F238E27FC236}">
                <a16:creationId xmlns:a16="http://schemas.microsoft.com/office/drawing/2014/main" id="{C00078AB-A77B-4610-A1B6-AF4416ED6BF9}"/>
              </a:ext>
            </a:extLst>
          </p:cNvPr>
          <p:cNvSpPr/>
          <p:nvPr/>
        </p:nvSpPr>
        <p:spPr>
          <a:xfrm>
            <a:off x="7596204" y="3308498"/>
            <a:ext cx="241004" cy="2410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椭圆 38">
            <a:extLst>
              <a:ext uri="{FF2B5EF4-FFF2-40B4-BE49-F238E27FC236}">
                <a16:creationId xmlns:a16="http://schemas.microsoft.com/office/drawing/2014/main" id="{53145852-3E93-4B73-839A-A9252976DE9C}"/>
              </a:ext>
            </a:extLst>
          </p:cNvPr>
          <p:cNvSpPr/>
          <p:nvPr/>
        </p:nvSpPr>
        <p:spPr>
          <a:xfrm>
            <a:off x="2880410" y="4103156"/>
            <a:ext cx="241004" cy="24100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椭圆 39">
            <a:extLst>
              <a:ext uri="{FF2B5EF4-FFF2-40B4-BE49-F238E27FC236}">
                <a16:creationId xmlns:a16="http://schemas.microsoft.com/office/drawing/2014/main" id="{B57ADB1E-CA5F-4776-BA0C-9AEAF6724C48}"/>
              </a:ext>
            </a:extLst>
          </p:cNvPr>
          <p:cNvSpPr/>
          <p:nvPr/>
        </p:nvSpPr>
        <p:spPr>
          <a:xfrm>
            <a:off x="3667219" y="4103156"/>
            <a:ext cx="241004" cy="241004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椭圆 40">
            <a:extLst>
              <a:ext uri="{FF2B5EF4-FFF2-40B4-BE49-F238E27FC236}">
                <a16:creationId xmlns:a16="http://schemas.microsoft.com/office/drawing/2014/main" id="{3D5E6F81-4791-4F5E-9332-F9305470354D}"/>
              </a:ext>
            </a:extLst>
          </p:cNvPr>
          <p:cNvSpPr/>
          <p:nvPr/>
        </p:nvSpPr>
        <p:spPr>
          <a:xfrm>
            <a:off x="4454028" y="4103156"/>
            <a:ext cx="241004" cy="24100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椭圆 41">
            <a:extLst>
              <a:ext uri="{FF2B5EF4-FFF2-40B4-BE49-F238E27FC236}">
                <a16:creationId xmlns:a16="http://schemas.microsoft.com/office/drawing/2014/main" id="{2AAB691B-B5B1-4286-A285-4E4E244F25C6}"/>
              </a:ext>
            </a:extLst>
          </p:cNvPr>
          <p:cNvSpPr/>
          <p:nvPr/>
        </p:nvSpPr>
        <p:spPr>
          <a:xfrm>
            <a:off x="5240837" y="4103156"/>
            <a:ext cx="241004" cy="241004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椭圆 42">
            <a:extLst>
              <a:ext uri="{FF2B5EF4-FFF2-40B4-BE49-F238E27FC236}">
                <a16:creationId xmlns:a16="http://schemas.microsoft.com/office/drawing/2014/main" id="{1B88AF82-6C76-4CB5-B5D4-A4D1FB208068}"/>
              </a:ext>
            </a:extLst>
          </p:cNvPr>
          <p:cNvSpPr/>
          <p:nvPr/>
        </p:nvSpPr>
        <p:spPr>
          <a:xfrm>
            <a:off x="6027646" y="4103156"/>
            <a:ext cx="241004" cy="24100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椭圆 43">
            <a:extLst>
              <a:ext uri="{FF2B5EF4-FFF2-40B4-BE49-F238E27FC236}">
                <a16:creationId xmlns:a16="http://schemas.microsoft.com/office/drawing/2014/main" id="{5247DE1E-5134-4BA0-AFE2-3F2F07B02A2F}"/>
              </a:ext>
            </a:extLst>
          </p:cNvPr>
          <p:cNvSpPr/>
          <p:nvPr/>
        </p:nvSpPr>
        <p:spPr>
          <a:xfrm>
            <a:off x="6814457" y="4103156"/>
            <a:ext cx="241004" cy="241004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5" name="直接箭头连接符 44">
            <a:extLst>
              <a:ext uri="{FF2B5EF4-FFF2-40B4-BE49-F238E27FC236}">
                <a16:creationId xmlns:a16="http://schemas.microsoft.com/office/drawing/2014/main" id="{DAFC5D98-BC3B-47F1-AC48-92C0AC768B20}"/>
              </a:ext>
            </a:extLst>
          </p:cNvPr>
          <p:cNvCxnSpPr/>
          <p:nvPr/>
        </p:nvCxnSpPr>
        <p:spPr>
          <a:xfrm>
            <a:off x="3121414" y="4223658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接箭头连接符 45">
            <a:extLst>
              <a:ext uri="{FF2B5EF4-FFF2-40B4-BE49-F238E27FC236}">
                <a16:creationId xmlns:a16="http://schemas.microsoft.com/office/drawing/2014/main" id="{E5A1686F-8341-489B-ABB5-E0A309E3EE60}"/>
              </a:ext>
            </a:extLst>
          </p:cNvPr>
          <p:cNvCxnSpPr/>
          <p:nvPr/>
        </p:nvCxnSpPr>
        <p:spPr>
          <a:xfrm>
            <a:off x="3908223" y="4223658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接箭头连接符 46">
            <a:extLst>
              <a:ext uri="{FF2B5EF4-FFF2-40B4-BE49-F238E27FC236}">
                <a16:creationId xmlns:a16="http://schemas.microsoft.com/office/drawing/2014/main" id="{49C3A117-701F-4700-8008-6CDDDEE41768}"/>
              </a:ext>
            </a:extLst>
          </p:cNvPr>
          <p:cNvCxnSpPr/>
          <p:nvPr/>
        </p:nvCxnSpPr>
        <p:spPr>
          <a:xfrm>
            <a:off x="4695032" y="4223658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箭头连接符 47">
            <a:extLst>
              <a:ext uri="{FF2B5EF4-FFF2-40B4-BE49-F238E27FC236}">
                <a16:creationId xmlns:a16="http://schemas.microsoft.com/office/drawing/2014/main" id="{9869E403-CD26-41C9-A50E-FDEA5CF03738}"/>
              </a:ext>
            </a:extLst>
          </p:cNvPr>
          <p:cNvCxnSpPr/>
          <p:nvPr/>
        </p:nvCxnSpPr>
        <p:spPr>
          <a:xfrm>
            <a:off x="5481841" y="4223658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接箭头连接符 48">
            <a:extLst>
              <a:ext uri="{FF2B5EF4-FFF2-40B4-BE49-F238E27FC236}">
                <a16:creationId xmlns:a16="http://schemas.microsoft.com/office/drawing/2014/main" id="{44A0AC67-FD30-4046-8935-186AFFDE683D}"/>
              </a:ext>
            </a:extLst>
          </p:cNvPr>
          <p:cNvCxnSpPr/>
          <p:nvPr/>
        </p:nvCxnSpPr>
        <p:spPr>
          <a:xfrm>
            <a:off x="6268650" y="4223658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箭头连接符 49">
            <a:extLst>
              <a:ext uri="{FF2B5EF4-FFF2-40B4-BE49-F238E27FC236}">
                <a16:creationId xmlns:a16="http://schemas.microsoft.com/office/drawing/2014/main" id="{1F99A1DC-C355-48A3-B291-8AE5D4C56F90}"/>
              </a:ext>
            </a:extLst>
          </p:cNvPr>
          <p:cNvCxnSpPr/>
          <p:nvPr/>
        </p:nvCxnSpPr>
        <p:spPr>
          <a:xfrm>
            <a:off x="7055459" y="4223658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矩形 50">
            <a:extLst>
              <a:ext uri="{FF2B5EF4-FFF2-40B4-BE49-F238E27FC236}">
                <a16:creationId xmlns:a16="http://schemas.microsoft.com/office/drawing/2014/main" id="{F4ADC133-4586-4B48-8796-6F0FAA71F501}"/>
              </a:ext>
            </a:extLst>
          </p:cNvPr>
          <p:cNvSpPr/>
          <p:nvPr/>
        </p:nvSpPr>
        <p:spPr>
          <a:xfrm>
            <a:off x="7596204" y="4103156"/>
            <a:ext cx="241004" cy="2410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椭圆 51">
            <a:extLst>
              <a:ext uri="{FF2B5EF4-FFF2-40B4-BE49-F238E27FC236}">
                <a16:creationId xmlns:a16="http://schemas.microsoft.com/office/drawing/2014/main" id="{68001A77-69FC-482D-A8B4-C703499752CB}"/>
              </a:ext>
            </a:extLst>
          </p:cNvPr>
          <p:cNvSpPr/>
          <p:nvPr/>
        </p:nvSpPr>
        <p:spPr>
          <a:xfrm>
            <a:off x="2880410" y="4666410"/>
            <a:ext cx="241004" cy="24100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椭圆 52">
            <a:extLst>
              <a:ext uri="{FF2B5EF4-FFF2-40B4-BE49-F238E27FC236}">
                <a16:creationId xmlns:a16="http://schemas.microsoft.com/office/drawing/2014/main" id="{575F1FB6-FA45-4AF7-BA15-409B228C8EAB}"/>
              </a:ext>
            </a:extLst>
          </p:cNvPr>
          <p:cNvSpPr/>
          <p:nvPr/>
        </p:nvSpPr>
        <p:spPr>
          <a:xfrm>
            <a:off x="3667219" y="4666410"/>
            <a:ext cx="241004" cy="241004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椭圆 53">
            <a:extLst>
              <a:ext uri="{FF2B5EF4-FFF2-40B4-BE49-F238E27FC236}">
                <a16:creationId xmlns:a16="http://schemas.microsoft.com/office/drawing/2014/main" id="{664A6AEE-7867-4B4E-8220-1836D6922F6B}"/>
              </a:ext>
            </a:extLst>
          </p:cNvPr>
          <p:cNvSpPr/>
          <p:nvPr/>
        </p:nvSpPr>
        <p:spPr>
          <a:xfrm>
            <a:off x="4454028" y="4666410"/>
            <a:ext cx="241004" cy="24100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椭圆 54">
            <a:extLst>
              <a:ext uri="{FF2B5EF4-FFF2-40B4-BE49-F238E27FC236}">
                <a16:creationId xmlns:a16="http://schemas.microsoft.com/office/drawing/2014/main" id="{29FA1277-57F8-4C23-B9D7-AC0C5EF62E01}"/>
              </a:ext>
            </a:extLst>
          </p:cNvPr>
          <p:cNvSpPr/>
          <p:nvPr/>
        </p:nvSpPr>
        <p:spPr>
          <a:xfrm>
            <a:off x="5240837" y="4666410"/>
            <a:ext cx="241004" cy="241004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椭圆 55">
            <a:extLst>
              <a:ext uri="{FF2B5EF4-FFF2-40B4-BE49-F238E27FC236}">
                <a16:creationId xmlns:a16="http://schemas.microsoft.com/office/drawing/2014/main" id="{CA9E4E20-3D3D-4737-BBC1-0E91D6C98E0B}"/>
              </a:ext>
            </a:extLst>
          </p:cNvPr>
          <p:cNvSpPr/>
          <p:nvPr/>
        </p:nvSpPr>
        <p:spPr>
          <a:xfrm>
            <a:off x="6027646" y="4666410"/>
            <a:ext cx="241004" cy="24100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椭圆 56">
            <a:extLst>
              <a:ext uri="{FF2B5EF4-FFF2-40B4-BE49-F238E27FC236}">
                <a16:creationId xmlns:a16="http://schemas.microsoft.com/office/drawing/2014/main" id="{3495AD33-2E78-46F9-B6CC-0E98946549E7}"/>
              </a:ext>
            </a:extLst>
          </p:cNvPr>
          <p:cNvSpPr/>
          <p:nvPr/>
        </p:nvSpPr>
        <p:spPr>
          <a:xfrm>
            <a:off x="6814457" y="4666410"/>
            <a:ext cx="241004" cy="241004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8" name="直接箭头连接符 57">
            <a:extLst>
              <a:ext uri="{FF2B5EF4-FFF2-40B4-BE49-F238E27FC236}">
                <a16:creationId xmlns:a16="http://schemas.microsoft.com/office/drawing/2014/main" id="{5299B5C6-5837-4966-97C2-0F72817CCDCA}"/>
              </a:ext>
            </a:extLst>
          </p:cNvPr>
          <p:cNvCxnSpPr/>
          <p:nvPr/>
        </p:nvCxnSpPr>
        <p:spPr>
          <a:xfrm>
            <a:off x="3121414" y="4786912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箭头连接符 58">
            <a:extLst>
              <a:ext uri="{FF2B5EF4-FFF2-40B4-BE49-F238E27FC236}">
                <a16:creationId xmlns:a16="http://schemas.microsoft.com/office/drawing/2014/main" id="{A81923D8-C452-4CC6-8719-97F40209418C}"/>
              </a:ext>
            </a:extLst>
          </p:cNvPr>
          <p:cNvCxnSpPr/>
          <p:nvPr/>
        </p:nvCxnSpPr>
        <p:spPr>
          <a:xfrm>
            <a:off x="3908223" y="4786912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箭头连接符 59">
            <a:extLst>
              <a:ext uri="{FF2B5EF4-FFF2-40B4-BE49-F238E27FC236}">
                <a16:creationId xmlns:a16="http://schemas.microsoft.com/office/drawing/2014/main" id="{1F646AB7-3F17-4F38-8492-7AA3043FF25D}"/>
              </a:ext>
            </a:extLst>
          </p:cNvPr>
          <p:cNvCxnSpPr/>
          <p:nvPr/>
        </p:nvCxnSpPr>
        <p:spPr>
          <a:xfrm>
            <a:off x="4695032" y="4786912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箭头连接符 60">
            <a:extLst>
              <a:ext uri="{FF2B5EF4-FFF2-40B4-BE49-F238E27FC236}">
                <a16:creationId xmlns:a16="http://schemas.microsoft.com/office/drawing/2014/main" id="{E34B1DAD-978E-4587-8ADA-1B42221E312E}"/>
              </a:ext>
            </a:extLst>
          </p:cNvPr>
          <p:cNvCxnSpPr/>
          <p:nvPr/>
        </p:nvCxnSpPr>
        <p:spPr>
          <a:xfrm>
            <a:off x="5481841" y="4786912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箭头连接符 61">
            <a:extLst>
              <a:ext uri="{FF2B5EF4-FFF2-40B4-BE49-F238E27FC236}">
                <a16:creationId xmlns:a16="http://schemas.microsoft.com/office/drawing/2014/main" id="{1146E003-0B7F-4A13-A18B-33D9724F5631}"/>
              </a:ext>
            </a:extLst>
          </p:cNvPr>
          <p:cNvCxnSpPr/>
          <p:nvPr/>
        </p:nvCxnSpPr>
        <p:spPr>
          <a:xfrm>
            <a:off x="6268650" y="4786912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箭头连接符 62">
            <a:extLst>
              <a:ext uri="{FF2B5EF4-FFF2-40B4-BE49-F238E27FC236}">
                <a16:creationId xmlns:a16="http://schemas.microsoft.com/office/drawing/2014/main" id="{124F8808-602C-41D7-87B2-6A3F1123D283}"/>
              </a:ext>
            </a:extLst>
          </p:cNvPr>
          <p:cNvCxnSpPr/>
          <p:nvPr/>
        </p:nvCxnSpPr>
        <p:spPr>
          <a:xfrm>
            <a:off x="7055459" y="4786912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矩形 63">
            <a:extLst>
              <a:ext uri="{FF2B5EF4-FFF2-40B4-BE49-F238E27FC236}">
                <a16:creationId xmlns:a16="http://schemas.microsoft.com/office/drawing/2014/main" id="{3461F21D-8358-48D2-9E71-87A03370948C}"/>
              </a:ext>
            </a:extLst>
          </p:cNvPr>
          <p:cNvSpPr/>
          <p:nvPr/>
        </p:nvSpPr>
        <p:spPr>
          <a:xfrm>
            <a:off x="7596204" y="4666410"/>
            <a:ext cx="241004" cy="2410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" name="椭圆 64">
            <a:extLst>
              <a:ext uri="{FF2B5EF4-FFF2-40B4-BE49-F238E27FC236}">
                <a16:creationId xmlns:a16="http://schemas.microsoft.com/office/drawing/2014/main" id="{7F330E93-94A6-4DE4-9F15-0E8D45A7B2EE}"/>
              </a:ext>
            </a:extLst>
          </p:cNvPr>
          <p:cNvSpPr/>
          <p:nvPr/>
        </p:nvSpPr>
        <p:spPr>
          <a:xfrm>
            <a:off x="2880410" y="5246564"/>
            <a:ext cx="241004" cy="24100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6" name="椭圆 65">
            <a:extLst>
              <a:ext uri="{FF2B5EF4-FFF2-40B4-BE49-F238E27FC236}">
                <a16:creationId xmlns:a16="http://schemas.microsoft.com/office/drawing/2014/main" id="{B828717C-0942-4CEE-B6F9-7CA01EE82B07}"/>
              </a:ext>
            </a:extLst>
          </p:cNvPr>
          <p:cNvSpPr/>
          <p:nvPr/>
        </p:nvSpPr>
        <p:spPr>
          <a:xfrm>
            <a:off x="3667219" y="5246564"/>
            <a:ext cx="241004" cy="241004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7" name="椭圆 66">
            <a:extLst>
              <a:ext uri="{FF2B5EF4-FFF2-40B4-BE49-F238E27FC236}">
                <a16:creationId xmlns:a16="http://schemas.microsoft.com/office/drawing/2014/main" id="{06C0CEF5-5D0E-43B6-BBF1-82BDF3C91742}"/>
              </a:ext>
            </a:extLst>
          </p:cNvPr>
          <p:cNvSpPr/>
          <p:nvPr/>
        </p:nvSpPr>
        <p:spPr>
          <a:xfrm>
            <a:off x="4454028" y="5246564"/>
            <a:ext cx="241004" cy="24100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椭圆 67">
            <a:extLst>
              <a:ext uri="{FF2B5EF4-FFF2-40B4-BE49-F238E27FC236}">
                <a16:creationId xmlns:a16="http://schemas.microsoft.com/office/drawing/2014/main" id="{16E89B0B-F66B-40DD-9A41-87C0A3319188}"/>
              </a:ext>
            </a:extLst>
          </p:cNvPr>
          <p:cNvSpPr/>
          <p:nvPr/>
        </p:nvSpPr>
        <p:spPr>
          <a:xfrm>
            <a:off x="5240837" y="5246564"/>
            <a:ext cx="241004" cy="241004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9" name="椭圆 68">
            <a:extLst>
              <a:ext uri="{FF2B5EF4-FFF2-40B4-BE49-F238E27FC236}">
                <a16:creationId xmlns:a16="http://schemas.microsoft.com/office/drawing/2014/main" id="{9CF08820-03E7-4D2E-B8A8-861C99560653}"/>
              </a:ext>
            </a:extLst>
          </p:cNvPr>
          <p:cNvSpPr/>
          <p:nvPr/>
        </p:nvSpPr>
        <p:spPr>
          <a:xfrm>
            <a:off x="6027646" y="5246564"/>
            <a:ext cx="241004" cy="24100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0" name="椭圆 69">
            <a:extLst>
              <a:ext uri="{FF2B5EF4-FFF2-40B4-BE49-F238E27FC236}">
                <a16:creationId xmlns:a16="http://schemas.microsoft.com/office/drawing/2014/main" id="{9230EB3F-1E9C-4790-91DF-032C1F20B3D5}"/>
              </a:ext>
            </a:extLst>
          </p:cNvPr>
          <p:cNvSpPr/>
          <p:nvPr/>
        </p:nvSpPr>
        <p:spPr>
          <a:xfrm>
            <a:off x="6814457" y="5246564"/>
            <a:ext cx="241004" cy="241004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1" name="直接箭头连接符 70">
            <a:extLst>
              <a:ext uri="{FF2B5EF4-FFF2-40B4-BE49-F238E27FC236}">
                <a16:creationId xmlns:a16="http://schemas.microsoft.com/office/drawing/2014/main" id="{7F026885-70C2-4B2B-A46D-7DBA4BFA36B9}"/>
              </a:ext>
            </a:extLst>
          </p:cNvPr>
          <p:cNvCxnSpPr/>
          <p:nvPr/>
        </p:nvCxnSpPr>
        <p:spPr>
          <a:xfrm>
            <a:off x="3121414" y="5367066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直接箭头连接符 71">
            <a:extLst>
              <a:ext uri="{FF2B5EF4-FFF2-40B4-BE49-F238E27FC236}">
                <a16:creationId xmlns:a16="http://schemas.microsoft.com/office/drawing/2014/main" id="{E25D1F63-C74E-42CE-8BB7-EE4B666400A6}"/>
              </a:ext>
            </a:extLst>
          </p:cNvPr>
          <p:cNvCxnSpPr/>
          <p:nvPr/>
        </p:nvCxnSpPr>
        <p:spPr>
          <a:xfrm>
            <a:off x="3908223" y="5367066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接箭头连接符 72">
            <a:extLst>
              <a:ext uri="{FF2B5EF4-FFF2-40B4-BE49-F238E27FC236}">
                <a16:creationId xmlns:a16="http://schemas.microsoft.com/office/drawing/2014/main" id="{A2280FD5-90A6-4F35-BF8D-E7AB5C920E78}"/>
              </a:ext>
            </a:extLst>
          </p:cNvPr>
          <p:cNvCxnSpPr/>
          <p:nvPr/>
        </p:nvCxnSpPr>
        <p:spPr>
          <a:xfrm>
            <a:off x="4695032" y="5367066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接箭头连接符 73">
            <a:extLst>
              <a:ext uri="{FF2B5EF4-FFF2-40B4-BE49-F238E27FC236}">
                <a16:creationId xmlns:a16="http://schemas.microsoft.com/office/drawing/2014/main" id="{934EF599-A959-4222-BF21-D3BCC9F86662}"/>
              </a:ext>
            </a:extLst>
          </p:cNvPr>
          <p:cNvCxnSpPr/>
          <p:nvPr/>
        </p:nvCxnSpPr>
        <p:spPr>
          <a:xfrm>
            <a:off x="5481841" y="5367066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接箭头连接符 74">
            <a:extLst>
              <a:ext uri="{FF2B5EF4-FFF2-40B4-BE49-F238E27FC236}">
                <a16:creationId xmlns:a16="http://schemas.microsoft.com/office/drawing/2014/main" id="{9DFB172C-5DF6-42FB-8C4C-7CFF1D1554C5}"/>
              </a:ext>
            </a:extLst>
          </p:cNvPr>
          <p:cNvCxnSpPr/>
          <p:nvPr/>
        </p:nvCxnSpPr>
        <p:spPr>
          <a:xfrm>
            <a:off x="6268650" y="5367066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接箭头连接符 75">
            <a:extLst>
              <a:ext uri="{FF2B5EF4-FFF2-40B4-BE49-F238E27FC236}">
                <a16:creationId xmlns:a16="http://schemas.microsoft.com/office/drawing/2014/main" id="{1DFDA5F7-2C0D-4747-9BBA-00A1521B32C9}"/>
              </a:ext>
            </a:extLst>
          </p:cNvPr>
          <p:cNvCxnSpPr/>
          <p:nvPr/>
        </p:nvCxnSpPr>
        <p:spPr>
          <a:xfrm>
            <a:off x="7055459" y="5367066"/>
            <a:ext cx="5458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矩形 76">
            <a:extLst>
              <a:ext uri="{FF2B5EF4-FFF2-40B4-BE49-F238E27FC236}">
                <a16:creationId xmlns:a16="http://schemas.microsoft.com/office/drawing/2014/main" id="{08C1CD52-2E19-43DB-A3D3-0B43A53FBC49}"/>
              </a:ext>
            </a:extLst>
          </p:cNvPr>
          <p:cNvSpPr/>
          <p:nvPr/>
        </p:nvSpPr>
        <p:spPr>
          <a:xfrm>
            <a:off x="7596204" y="5246564"/>
            <a:ext cx="241004" cy="2410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9" name="直接箭头连接符 78">
            <a:extLst>
              <a:ext uri="{FF2B5EF4-FFF2-40B4-BE49-F238E27FC236}">
                <a16:creationId xmlns:a16="http://schemas.microsoft.com/office/drawing/2014/main" id="{9F189282-4395-40BA-B89C-49E88B039A9B}"/>
              </a:ext>
            </a:extLst>
          </p:cNvPr>
          <p:cNvCxnSpPr>
            <a:cxnSpLocks/>
            <a:stCxn id="8" idx="5"/>
            <a:endCxn id="39" idx="2"/>
          </p:cNvCxnSpPr>
          <p:nvPr/>
        </p:nvCxnSpPr>
        <p:spPr>
          <a:xfrm>
            <a:off x="2299311" y="3514208"/>
            <a:ext cx="581099" cy="7094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接箭头连接符 80">
            <a:extLst>
              <a:ext uri="{FF2B5EF4-FFF2-40B4-BE49-F238E27FC236}">
                <a16:creationId xmlns:a16="http://schemas.microsoft.com/office/drawing/2014/main" id="{E1825EEA-46EE-403C-8E45-B5D8D1E3A95C}"/>
              </a:ext>
            </a:extLst>
          </p:cNvPr>
          <p:cNvCxnSpPr>
            <a:stCxn id="8" idx="5"/>
            <a:endCxn id="52" idx="2"/>
          </p:cNvCxnSpPr>
          <p:nvPr/>
        </p:nvCxnSpPr>
        <p:spPr>
          <a:xfrm>
            <a:off x="2299311" y="3514208"/>
            <a:ext cx="581099" cy="12727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直接箭头连接符 82">
            <a:extLst>
              <a:ext uri="{FF2B5EF4-FFF2-40B4-BE49-F238E27FC236}">
                <a16:creationId xmlns:a16="http://schemas.microsoft.com/office/drawing/2014/main" id="{89DCF134-0D73-42B4-A3B5-1B0062413934}"/>
              </a:ext>
            </a:extLst>
          </p:cNvPr>
          <p:cNvCxnSpPr>
            <a:stCxn id="8" idx="5"/>
            <a:endCxn id="65" idx="2"/>
          </p:cNvCxnSpPr>
          <p:nvPr/>
        </p:nvCxnSpPr>
        <p:spPr>
          <a:xfrm>
            <a:off x="2299311" y="3514208"/>
            <a:ext cx="581099" cy="18528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5" name="矩形 84">
                <a:extLst>
                  <a:ext uri="{FF2B5EF4-FFF2-40B4-BE49-F238E27FC236}">
                    <a16:creationId xmlns:a16="http://schemas.microsoft.com/office/drawing/2014/main" id="{76DDC314-04F8-4718-ADC1-996C9AD5FAD5}"/>
                  </a:ext>
                </a:extLst>
              </p:cNvPr>
              <p:cNvSpPr/>
              <p:nvPr/>
            </p:nvSpPr>
            <p:spPr>
              <a:xfrm>
                <a:off x="1209214" y="2901434"/>
                <a:ext cx="42274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dirty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i="1" baseline="-25000" dirty="0" err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𝑡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5" name="矩形 84">
                <a:extLst>
                  <a:ext uri="{FF2B5EF4-FFF2-40B4-BE49-F238E27FC236}">
                    <a16:creationId xmlns:a16="http://schemas.microsoft.com/office/drawing/2014/main" id="{76DDC314-04F8-4718-ADC1-996C9AD5FAD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09214" y="2901434"/>
                <a:ext cx="422743" cy="3693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6" name="矩形 85">
                <a:extLst>
                  <a:ext uri="{FF2B5EF4-FFF2-40B4-BE49-F238E27FC236}">
                    <a16:creationId xmlns:a16="http://schemas.microsoft.com/office/drawing/2014/main" id="{15CCF697-EE39-49A6-B239-FFB422BCF480}"/>
                  </a:ext>
                </a:extLst>
              </p:cNvPr>
              <p:cNvSpPr/>
              <p:nvPr/>
            </p:nvSpPr>
            <p:spPr>
              <a:xfrm>
                <a:off x="2020665" y="2906877"/>
                <a:ext cx="44358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dirty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𝑎</m:t>
                      </m:r>
                      <m:r>
                        <a:rPr lang="en-US" altLang="zh-CN" i="1" baseline="-25000" dirty="0" err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𝑡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6" name="矩形 85">
                <a:extLst>
                  <a:ext uri="{FF2B5EF4-FFF2-40B4-BE49-F238E27FC236}">
                    <a16:creationId xmlns:a16="http://schemas.microsoft.com/office/drawing/2014/main" id="{15CCF697-EE39-49A6-B239-FFB422BCF48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20665" y="2906877"/>
                <a:ext cx="443583" cy="3693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7" name="右大括号 86">
            <a:extLst>
              <a:ext uri="{FF2B5EF4-FFF2-40B4-BE49-F238E27FC236}">
                <a16:creationId xmlns:a16="http://schemas.microsoft.com/office/drawing/2014/main" id="{57589044-66E4-49A7-8487-A38922DFF43C}"/>
              </a:ext>
            </a:extLst>
          </p:cNvPr>
          <p:cNvSpPr/>
          <p:nvPr/>
        </p:nvSpPr>
        <p:spPr>
          <a:xfrm>
            <a:off x="7995557" y="4150560"/>
            <a:ext cx="146450" cy="1310508"/>
          </a:xfrm>
          <a:prstGeom prst="righ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8" name="矩形 87">
                <a:extLst>
                  <a:ext uri="{FF2B5EF4-FFF2-40B4-BE49-F238E27FC236}">
                    <a16:creationId xmlns:a16="http://schemas.microsoft.com/office/drawing/2014/main" id="{A4F0AA96-752E-4D9E-B965-3624FC49EDC5}"/>
                  </a:ext>
                </a:extLst>
              </p:cNvPr>
              <p:cNvSpPr/>
              <p:nvPr/>
            </p:nvSpPr>
            <p:spPr>
              <a:xfrm>
                <a:off x="8214903" y="4605049"/>
                <a:ext cx="475707" cy="37612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acc>
                            <m:accPr>
                              <m:chr m:val="̃"/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𝐺</m:t>
                              </m:r>
                            </m:e>
                          </m:acc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8" name="矩形 87">
                <a:extLst>
                  <a:ext uri="{FF2B5EF4-FFF2-40B4-BE49-F238E27FC236}">
                    <a16:creationId xmlns:a16="http://schemas.microsoft.com/office/drawing/2014/main" id="{A4F0AA96-752E-4D9E-B965-3624FC49EDC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14903" y="4605049"/>
                <a:ext cx="475707" cy="376129"/>
              </a:xfrm>
              <a:prstGeom prst="rect">
                <a:avLst/>
              </a:prstGeom>
              <a:blipFill>
                <a:blip r:embed="rId5"/>
                <a:stretch>
                  <a:fillRect t="-1613" r="-12821" b="-161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9" name="矩形 88">
                <a:extLst>
                  <a:ext uri="{FF2B5EF4-FFF2-40B4-BE49-F238E27FC236}">
                    <a16:creationId xmlns:a16="http://schemas.microsoft.com/office/drawing/2014/main" id="{E6C611E8-161D-4AF6-B7CC-EEB10EE09F1A}"/>
                  </a:ext>
                </a:extLst>
              </p:cNvPr>
              <p:cNvSpPr/>
              <p:nvPr/>
            </p:nvSpPr>
            <p:spPr>
              <a:xfrm>
                <a:off x="8214903" y="3222563"/>
                <a:ext cx="47570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𝐺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9" name="矩形 88">
                <a:extLst>
                  <a:ext uri="{FF2B5EF4-FFF2-40B4-BE49-F238E27FC236}">
                    <a16:creationId xmlns:a16="http://schemas.microsoft.com/office/drawing/2014/main" id="{E6C611E8-161D-4AF6-B7CC-EEB10EE09F1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14903" y="3222563"/>
                <a:ext cx="475708" cy="3693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0" name="矩形 89">
                <a:extLst>
                  <a:ext uri="{FF2B5EF4-FFF2-40B4-BE49-F238E27FC236}">
                    <a16:creationId xmlns:a16="http://schemas.microsoft.com/office/drawing/2014/main" id="{A3006CC3-6DC7-47C6-9A59-4A4EAB0EB3D2}"/>
                  </a:ext>
                </a:extLst>
              </p:cNvPr>
              <p:cNvSpPr/>
              <p:nvPr/>
            </p:nvSpPr>
            <p:spPr>
              <a:xfrm>
                <a:off x="3593014" y="5798206"/>
                <a:ext cx="1957972" cy="64863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acc>
                            <m:accPr>
                              <m:chr m:val="̃"/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acc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𝐺</m:t>
                              </m:r>
                            </m:e>
                          </m:acc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𝑡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1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𝑁</m:t>
                          </m:r>
                        </m:den>
                      </m:f>
                      <m:nary>
                        <m:naryPr>
                          <m:chr m:val="∑"/>
                          <m:limLoc m:val="subSup"/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m:rPr>
                              <m:brk m:alnAt="25"/>
                            </m:r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𝑖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1</m:t>
                          </m:r>
                        </m:sub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𝑛</m:t>
                          </m:r>
                        </m:sup>
                        <m:e>
                          <m:sSubSup>
                            <m:sSub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𝐺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𝑖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)</m:t>
                              </m:r>
                            </m:sup>
                          </m:sSubSup>
                        </m:e>
                      </m:nary>
                    </m:oMath>
                  </m:oMathPara>
                </a14:m>
                <a:endParaRPr lang="zh-CN" altLang="en-US" baseline="-25000" dirty="0"/>
              </a:p>
            </p:txBody>
          </p:sp>
        </mc:Choice>
        <mc:Fallback xmlns="">
          <p:sp>
            <p:nvSpPr>
              <p:cNvPr id="90" name="矩形 89">
                <a:extLst>
                  <a:ext uri="{FF2B5EF4-FFF2-40B4-BE49-F238E27FC236}">
                    <a16:creationId xmlns:a16="http://schemas.microsoft.com/office/drawing/2014/main" id="{A3006CC3-6DC7-47C6-9A59-4A4EAB0EB3D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3014" y="5798206"/>
                <a:ext cx="1957972" cy="648639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081702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31716"/>
    </mc:Choice>
    <mc:Fallback xmlns="">
      <p:transition advTm="131716"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Puck World </a:t>
            </a:r>
            <a:r>
              <a:rPr lang="zh-CN" altLang="en-US" dirty="0"/>
              <a:t>冰球世界示例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2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3635" y="3819344"/>
            <a:ext cx="8487445" cy="22526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连续的动作对冰球施加较小的力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冰球接近目标可以得到奖励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目标位置每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30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秒重置一次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用蒙特卡洛策略梯度方法训练策略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6" name="图片 3">
            <a:extLst>
              <a:ext uri="{FF2B5EF4-FFF2-40B4-BE49-F238E27FC236}">
                <a16:creationId xmlns:a16="http://schemas.microsoft.com/office/drawing/2014/main" id="{B709A6B4-09DF-4AB0-8494-7D493AD10F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635" y="1138435"/>
            <a:ext cx="3780702" cy="2717800"/>
          </a:xfrm>
          <a:prstGeom prst="rect">
            <a:avLst/>
          </a:prstGeom>
        </p:spPr>
      </p:pic>
      <p:pic>
        <p:nvPicPr>
          <p:cNvPr id="7" name="图片 4">
            <a:extLst>
              <a:ext uri="{FF2B5EF4-FFF2-40B4-BE49-F238E27FC236}">
                <a16:creationId xmlns:a16="http://schemas.microsoft.com/office/drawing/2014/main" id="{08959AD2-8446-4771-8F63-E32813E46E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0976" y="1138434"/>
            <a:ext cx="4054846" cy="2770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709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84057"/>
    </mc:Choice>
    <mc:Fallback xmlns="">
      <p:transition advTm="84057"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 err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Softmax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随机策略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3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540684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Softmax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是一种非常常用的随机策略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𝑒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𝑓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)</m:t>
                              </m:r>
                            </m:sup>
                          </m:sSup>
                        </m:num>
                        <m:den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  <m:sup/>
                            <m:e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𝑒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𝑓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)</m:t>
                                  </m:r>
                                </m:sup>
                              </m:sSup>
                            </m:e>
                          </m:nary>
                        </m:den>
                      </m:f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式中，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𝑓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用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参数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化的状态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动作对得分函数，可以预先定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其对数似然的梯度是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ts val="6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eqArrPr>
                        <m:e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log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𝑓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−</m:t>
                          </m:r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1</m:t>
                              </m:r>
                            </m:num>
                            <m:den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naryPr>
                                <m:sub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sub>
                                <m:sup/>
                                <m:e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𝑒</m:t>
                                      </m:r>
                                    </m:e>
                                    <m:sup>
                                      <m:sSub>
                                        <m:sSub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𝑓</m:t>
                                          </m:r>
                                        </m:e>
                                        <m:sub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𝜃</m:t>
                                          </m:r>
                                        </m:sub>
                                      </m:sSub>
                                      <m:d>
                                        <m:d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,</m:t>
                                          </m:r>
                                          <m:sSup>
                                            <m:sSupPr>
                                              <m:ctrlP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𝑎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′</m:t>
                                              </m:r>
                                            </m:sup>
                                          </m:sSup>
                                        </m:e>
                                      </m:d>
                                    </m:sup>
                                  </m:sSup>
                                </m:e>
                              </m:nary>
                            </m:den>
                          </m:f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′</m:t>
                                  </m:r>
                                </m:sup>
                              </m:sSup>
                            </m:sub>
                            <m:sup/>
                            <m:e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𝑒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𝑓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sSup>
                                        <m:sSup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</m:e>
                                        <m:sup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′′</m:t>
                                          </m:r>
                                        </m:sup>
                                      </m:sSup>
                                    </m:e>
                                  </m:d>
                                </m:sup>
                              </m:sSup>
                              <m:f>
                                <m:f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</m:t>
                                  </m:r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𝑓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sSup>
                                        <m:sSup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</m:e>
                                        <m:sup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′′</m:t>
                                          </m:r>
                                        </m:sup>
                                      </m:sSup>
                                    </m:e>
                                  </m:d>
                                </m:num>
                                <m:den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</m:e>
                          </m:nary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𝑓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  <m:sub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~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|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)</m:t>
                              </m:r>
                            </m:sub>
                          </m:sSub>
                          <m:d>
                            <m:dPr>
                              <m:begChr m:val="["/>
                              <m:endChr m:val="]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</m:t>
                                  </m:r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𝑓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sSup>
                                        <m:sSup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</m:e>
                                        <m:sup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′</m:t>
                                          </m:r>
                                        </m:sup>
                                      </m:sSup>
                                    </m:e>
                                  </m:d>
                                </m:num>
                                <m:den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</m:e>
                          </m:d>
                        </m:e>
                      </m:eqAr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5406848"/>
              </a:xfrm>
              <a:prstGeom prst="rect">
                <a:avLst/>
              </a:prstGeom>
              <a:blipFill>
                <a:blip r:embed="rId2"/>
                <a:stretch>
                  <a:fillRect l="-431" t="-5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26710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24095"/>
    </mc:Choice>
    <mc:Fallback xmlns="">
      <p:transition advTm="224095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 err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Softmax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随机策略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4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540684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Softmax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是一种非常常用的随机策略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𝑒</m:t>
                              </m:r>
                            </m:e>
                            <m:sup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𝑓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(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)</m:t>
                              </m:r>
                            </m:sup>
                          </m:sSup>
                        </m:num>
                        <m:den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  <m:sup/>
                            <m:e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𝑒</m:t>
                                  </m:r>
                                </m:e>
                                <m:sup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𝑓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(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)</m:t>
                                  </m:r>
                                </m:sup>
                              </m:sSup>
                            </m:e>
                          </m:nary>
                        </m:den>
                      </m:f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式中，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𝑓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用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𝜃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参数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化的状态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动作对得分函数，可以预先定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举线性得分函数为例，则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sub>
                      </m:sSub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  <m:sup>
                          <m:r>
                            <m:rPr>
                              <m:sty m:val="p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T</m:t>
                          </m:r>
                        </m:sup>
                      </m:sSup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,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𝑎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eqArrPr>
                        <m:e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log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𝑓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  <m:sub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~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|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) </m:t>
                              </m:r>
                            </m:sub>
                          </m:sSub>
                          <m:d>
                            <m:dPr>
                              <m:begChr m:val="["/>
                              <m:endChr m:val="]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</m:t>
                                  </m:r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𝑓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sSup>
                                        <m:sSup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</m:e>
                                        <m: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′</m:t>
                                          </m:r>
                                        </m:sup>
                                      </m:sSup>
                                    </m:e>
                                  </m:d>
                                </m:num>
                                <m:den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</m:e>
                          </m:d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𝑥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−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  <m:sub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~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|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)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[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𝑥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′)]</m:t>
                          </m:r>
                        </m:e>
                      </m:eqAr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5406848"/>
              </a:xfrm>
              <a:prstGeom prst="rect">
                <a:avLst/>
              </a:prstGeom>
              <a:blipFill>
                <a:blip r:embed="rId2"/>
                <a:stretch>
                  <a:fillRect l="-431" t="-5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86312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55823"/>
    </mc:Choice>
    <mc:Fallback xmlns="">
      <p:transition advTm="55823"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Actor-Critic</a:t>
            </a:r>
            <a:endParaRPr lang="zh-CN" altLang="en-US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5C66384-4C17-4B99-B6D8-92B3D53690A4}"/>
              </a:ext>
            </a:extLst>
          </p:cNvPr>
          <p:cNvSpPr txBox="1"/>
          <p:nvPr/>
        </p:nvSpPr>
        <p:spPr>
          <a:xfrm>
            <a:off x="2317728" y="4914628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37358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9120"/>
    </mc:Choice>
    <mc:Fallback xmlns="">
      <p:transition advTm="9120"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REINFORCE 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存在的问题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6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3636" y="1271823"/>
            <a:ext cx="8136730" cy="48207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于片段式数据的任务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通常情况下，任务需要有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终止状态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，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REINFORCE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才能直接计算累计折扣奖励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低数据利用效率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实际中，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REINFORCE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需要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大量的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训练数据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高训练方差（</a:t>
            </a:r>
            <a:r>
              <a:rPr lang="zh-CN" altLang="en-US" b="0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最重要的缺陷</a:t>
            </a:r>
            <a:r>
              <a:rPr lang="zh-CN" altLang="en-US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从单个或多个片段中采样到的值函数具有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很高的方差</a:t>
            </a:r>
            <a:endParaRPr lang="en-US" altLang="zh-CN" b="0" dirty="0">
              <a:solidFill>
                <a:schemeClr val="accent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96579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96108"/>
    </mc:Choice>
    <mc:Fallback xmlns="">
      <p:transition advTm="96108"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Actor-Critic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7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3635" y="1271823"/>
                <a:ext cx="8487445" cy="482075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Actor-Critic</a:t>
                </a: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思想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REINFORCE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策略梯度方法：使用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蒙特卡洛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采样直接估计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的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值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𝐺</m:t>
                        </m:r>
                      </m:e>
                      <m:sub>
                        <m:r>
                          <a:rPr lang="en-US" altLang="zh-CN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𝑡</m:t>
                        </m:r>
                      </m:sub>
                    </m:sSub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什么不建立一个可训练的值函数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b="0" i="0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Φ</m:t>
                        </m:r>
                      </m:sub>
                    </m:sSub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来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完成这个估计过程？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演员</a:t>
                </a: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（</a:t>
                </a:r>
                <a:r>
                  <a:rPr lang="en-US" altLang="zh-CN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Actor</a:t>
                </a: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和评论家（</a:t>
                </a:r>
                <a:r>
                  <a:rPr lang="en-US" altLang="zh-CN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Critic</a:t>
                </a: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635" y="1271823"/>
                <a:ext cx="8487445" cy="4820752"/>
              </a:xfrm>
              <a:prstGeom prst="rect">
                <a:avLst/>
              </a:prstGeom>
              <a:blipFill>
                <a:blip r:embed="rId2"/>
                <a:stretch>
                  <a:fillRect l="-43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圆角矩形 8"/>
          <p:cNvSpPr/>
          <p:nvPr/>
        </p:nvSpPr>
        <p:spPr>
          <a:xfrm>
            <a:off x="681738" y="3491193"/>
            <a:ext cx="7844119" cy="2197797"/>
          </a:xfrm>
          <a:prstGeom prst="roundRect">
            <a:avLst/>
          </a:prstGeom>
          <a:solidFill>
            <a:schemeClr val="bg1"/>
          </a:solidFill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E0DC718-3993-4229-B6AA-D6343E0D990C}"/>
              </a:ext>
            </a:extLst>
          </p:cNvPr>
          <p:cNvGrpSpPr/>
          <p:nvPr/>
        </p:nvGrpSpPr>
        <p:grpSpPr>
          <a:xfrm>
            <a:off x="962226" y="3790345"/>
            <a:ext cx="1873770" cy="1243397"/>
            <a:chOff x="1008887" y="3099461"/>
            <a:chExt cx="1873770" cy="1243397"/>
          </a:xfrm>
        </p:grpSpPr>
        <p:sp>
          <p:nvSpPr>
            <p:cNvPr id="7" name="文本框 5">
              <a:extLst>
                <a:ext uri="{FF2B5EF4-FFF2-40B4-BE49-F238E27FC236}">
                  <a16:creationId xmlns:a16="http://schemas.microsoft.com/office/drawing/2014/main" id="{8CE516A3-934A-4F68-BF8F-812D9D46C76C}"/>
                </a:ext>
              </a:extLst>
            </p:cNvPr>
            <p:cNvSpPr txBox="1"/>
            <p:nvPr/>
          </p:nvSpPr>
          <p:spPr>
            <a:xfrm>
              <a:off x="1008887" y="3142529"/>
              <a:ext cx="187377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演员</a:t>
              </a:r>
              <a:endPara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  <a:p>
              <a:endParaRPr lang="en-US" altLang="zh-CN" dirty="0">
                <a:solidFill>
                  <a:srgbClr val="00B0F0"/>
                </a:solidFill>
              </a:endParaRPr>
            </a:p>
            <a:p>
              <a:r>
                <a:rPr lang="zh-CN" altLang="en-US" dirty="0">
                  <a:solidFill>
                    <a:srgbClr val="00B0F0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采取动作使评论家满意的策略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" name="TextBox 2">
                  <a:extLst>
                    <a:ext uri="{FF2B5EF4-FFF2-40B4-BE49-F238E27FC236}">
                      <a16:creationId xmlns:a16="http://schemas.microsoft.com/office/drawing/2014/main" id="{7EA93FD5-8019-47FC-900D-1F7A4FF71599}"/>
                    </a:ext>
                  </a:extLst>
                </p:cNvPr>
                <p:cNvSpPr txBox="1"/>
                <p:nvPr/>
              </p:nvSpPr>
              <p:spPr>
                <a:xfrm>
                  <a:off x="1777900" y="3099461"/>
                  <a:ext cx="1019061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𝜋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𝜃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|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3" name="TextBox 2">
                  <a:extLst>
                    <a:ext uri="{FF2B5EF4-FFF2-40B4-BE49-F238E27FC236}">
                      <a16:creationId xmlns:a16="http://schemas.microsoft.com/office/drawing/2014/main" id="{7EA93FD5-8019-47FC-900D-1F7A4FF7159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777900" y="3099461"/>
                  <a:ext cx="1019061" cy="369332"/>
                </a:xfrm>
                <a:prstGeom prst="rect">
                  <a:avLst/>
                </a:prstGeom>
                <a:blipFill>
                  <a:blip r:embed="rId5"/>
                  <a:stretch>
                    <a:fillRect b="-15000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E24A318-B1DC-454E-B275-E2B5EC40B7C9}"/>
              </a:ext>
            </a:extLst>
          </p:cNvPr>
          <p:cNvGrpSpPr/>
          <p:nvPr/>
        </p:nvGrpSpPr>
        <p:grpSpPr>
          <a:xfrm>
            <a:off x="6457949" y="3780193"/>
            <a:ext cx="1913585" cy="1487480"/>
            <a:chOff x="939709" y="3094636"/>
            <a:chExt cx="1913585" cy="1487480"/>
          </a:xfrm>
        </p:grpSpPr>
        <p:sp>
          <p:nvSpPr>
            <p:cNvPr id="12" name="文本框 5">
              <a:extLst>
                <a:ext uri="{FF2B5EF4-FFF2-40B4-BE49-F238E27FC236}">
                  <a16:creationId xmlns:a16="http://schemas.microsoft.com/office/drawing/2014/main" id="{4D5CD014-7714-4FCB-BED2-0BEB426A65B5}"/>
                </a:ext>
              </a:extLst>
            </p:cNvPr>
            <p:cNvSpPr txBox="1"/>
            <p:nvPr/>
          </p:nvSpPr>
          <p:spPr>
            <a:xfrm>
              <a:off x="939709" y="3104788"/>
              <a:ext cx="1873770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评论家</a:t>
              </a:r>
              <a:endPara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  <a:p>
              <a:endParaRPr lang="en-US" altLang="zh-CN" dirty="0">
                <a:solidFill>
                  <a:srgbClr val="00B0F0"/>
                </a:solidFill>
              </a:endParaRPr>
            </a:p>
            <a:p>
              <a:r>
                <a:rPr lang="zh-CN" altLang="en-US" dirty="0">
                  <a:solidFill>
                    <a:srgbClr val="00B0F0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学会准确估计演员策略所采取动作价值的值函数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53EEFB8E-A437-4680-8221-A6670A4FD66D}"/>
                    </a:ext>
                  </a:extLst>
                </p:cNvPr>
                <p:cNvSpPr txBox="1"/>
                <p:nvPr/>
              </p:nvSpPr>
              <p:spPr>
                <a:xfrm>
                  <a:off x="1775948" y="3094636"/>
                  <a:ext cx="1077346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𝑄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b="0" i="0" smtClean="0">
                                <a:latin typeface="Cambria Math" panose="02040503050406030204" pitchFamily="18" charset="0"/>
                              </a:rPr>
                              <m:t>Φ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zh-CN" altLang="en-US" sz="1600" dirty="0"/>
                </a:p>
              </p:txBody>
            </p:sp>
          </mc:Choice>
          <mc:Fallback xmlns=""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53EEFB8E-A437-4680-8221-A6670A4FD66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775948" y="3094636"/>
                  <a:ext cx="1077346" cy="369332"/>
                </a:xfrm>
                <a:prstGeom prst="rect">
                  <a:avLst/>
                </a:prstGeom>
                <a:blipFill>
                  <a:blip r:embed="rId6"/>
                  <a:stretch>
                    <a:fillRect b="-14754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pic>
        <p:nvPicPr>
          <p:cNvPr id="6" name="图片 4">
            <a:extLst>
              <a:ext uri="{FF2B5EF4-FFF2-40B4-BE49-F238E27FC236}">
                <a16:creationId xmlns:a16="http://schemas.microsoft.com/office/drawing/2014/main" id="{07617FEF-60FD-4EDF-9815-51A47882EF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975498" y="3491193"/>
            <a:ext cx="3203446" cy="2197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428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77326"/>
    </mc:Choice>
    <mc:Fallback xmlns="">
      <p:transition advTm="77326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Actor-Critic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训练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8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3636" y="1271823"/>
                <a:ext cx="8136730" cy="482075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评论家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Critic: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𝑄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b="0" i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Φ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学会准确估计当前演员策略（</a:t>
                </a: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actor policy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的动作价值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altLang="zh-CN" b="0" i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Φ</m:t>
                          </m:r>
                        </m:sub>
                      </m:sSub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阿里巴巴普惠体 R" panose="00020600040101010101" pitchFamily="18" charset="-122"/>
                        </a:rPr>
                        <m:t>≃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阿里巴巴普惠体 R" panose="00020600040101010101" pitchFamily="18" charset="-122"/>
                        </a:rPr>
                        <m:t>𝑟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阿里巴巴普惠体 R" panose="00020600040101010101" pitchFamily="18" charset="-122"/>
                        </a:rPr>
                        <m:t>+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阿里巴巴普惠体 R" panose="00020600040101010101" pitchFamily="18" charset="-122"/>
                        </a:rPr>
                        <m:t>𝛾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~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𝑝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(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|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),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~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(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|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)</m:t>
                          </m:r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altLang="zh-CN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Φ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e>
                          </m:d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演员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Actor: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𝜋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𝜃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|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学会采取使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critic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满意的动作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𝜃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~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𝑝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altLang="zh-CN" b="0" i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Φ</m:t>
                              </m:r>
                            </m:sub>
                          </m:sSub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𝐽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𝜃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𝔼</m:t>
                          </m:r>
                        </m:e>
                        <m:sub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𝜃</m:t>
                              </m:r>
                            </m:sub>
                          </m:sSub>
                        </m:sub>
                      </m:sSub>
                      <m:d>
                        <m:dPr>
                          <m:begChr m:val="["/>
                          <m:endChr m:val="]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func>
                                <m:func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en-US" altLang="zh-CN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log</m:t>
                                  </m:r>
                                </m:fName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𝜃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</m:d>
                                </m:e>
                              </m:func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altLang="zh-CN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Φ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e>
                      </m:d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636" y="1271823"/>
                <a:ext cx="8136730" cy="4820752"/>
              </a:xfrm>
              <a:prstGeom prst="rect">
                <a:avLst/>
              </a:prstGeom>
              <a:blipFill>
                <a:blip r:embed="rId2"/>
                <a:stretch>
                  <a:fillRect l="-45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36449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11998"/>
    </mc:Choice>
    <mc:Fallback xmlns="">
      <p:transition advTm="111998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A2C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：</a:t>
            </a:r>
            <a:r>
              <a:rPr lang="en-US" altLang="zh-CN" dirty="0"/>
              <a:t> Advantageous Actor-Critic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9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3636" y="1271823"/>
                <a:ext cx="8136730" cy="482075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思想：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通过减去一个基线函数来标准化评论家的打分</a:t>
                </a:r>
                <a:endParaRPr lang="en-US" altLang="zh-CN" dirty="0">
                  <a:solidFill>
                    <a:schemeClr val="accent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更多信息指导：降低较差动作概率，提高较优动作概率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进一步降低方差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优势函数（</a:t>
                </a: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Advantage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:r>
                  <a:rPr lang="en-US" altLang="zh-CN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Function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𝐴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𝑉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636" y="1271823"/>
                <a:ext cx="8136730" cy="4820752"/>
              </a:xfrm>
              <a:prstGeom prst="rect">
                <a:avLst/>
              </a:prstGeom>
              <a:blipFill>
                <a:blip r:embed="rId4"/>
                <a:stretch>
                  <a:fillRect l="-45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6" name="图表 6">
            <a:extLst>
              <a:ext uri="{FF2B5EF4-FFF2-40B4-BE49-F238E27FC236}">
                <a16:creationId xmlns:a16="http://schemas.microsoft.com/office/drawing/2014/main" id="{153589EA-61EF-4385-9637-DE8D75C4CB66}"/>
              </a:ext>
            </a:extLst>
          </p:cNvPr>
          <p:cNvGraphicFramePr>
            <a:graphicFrameLocks/>
          </p:cNvGraphicFramePr>
          <p:nvPr/>
        </p:nvGraphicFramePr>
        <p:xfrm>
          <a:off x="1164772" y="3928199"/>
          <a:ext cx="3178627" cy="19140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图表 7">
            <a:extLst>
              <a:ext uri="{FF2B5EF4-FFF2-40B4-BE49-F238E27FC236}">
                <a16:creationId xmlns:a16="http://schemas.microsoft.com/office/drawing/2014/main" id="{890BD87F-798F-45D0-A9F6-A41FF9655164}"/>
              </a:ext>
            </a:extLst>
          </p:cNvPr>
          <p:cNvGraphicFramePr>
            <a:graphicFrameLocks/>
          </p:cNvGraphicFramePr>
          <p:nvPr/>
        </p:nvGraphicFramePr>
        <p:xfrm>
          <a:off x="4572000" y="3928199"/>
          <a:ext cx="3194957" cy="19187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6880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21105"/>
    </mc:Choice>
    <mc:Fallback xmlns="">
      <p:transition advTm="121105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本课程中解决的关键问题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之前所有模型的做法都是基于创建一个查询表，在表中维护状态值函数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或状态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动作值函数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</m:d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当处理大规模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马尔可夫决策过程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DP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时，即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或者状态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动作空间非常大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连续的状态或动作空间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   是否仍然需要为每一个状态维护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𝑉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或为每个状态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动作对维护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𝑄</m:t>
                    </m:r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𝑠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𝑎</m:t>
                        </m:r>
                      </m:e>
                    </m:d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？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例如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围棋博弈（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0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70</m:t>
                        </m:r>
                      </m:sup>
                    </m:sSup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状态空间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/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直升机，自动驾驶汽车（连续的状态空间）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4607722"/>
              </a:xfrm>
              <a:prstGeom prst="rect">
                <a:avLst/>
              </a:prstGeom>
              <a:blipFill>
                <a:blip r:embed="rId4"/>
                <a:stretch>
                  <a:fillRect l="-431" t="-6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99535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1710"/>
    </mc:Choice>
    <mc:Fallback xmlns="">
      <p:transition advTm="101710"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A2C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：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Advantageous Actor-Critic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0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3635" y="1271823"/>
                <a:ext cx="8033875" cy="482075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状态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动作值和状态值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eqArrPr>
                        <m:e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&amp;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𝑟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𝛾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  <m:sub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~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𝑝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|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),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~</m:t>
                              </m:r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𝜃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|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)</m:t>
                              </m:r>
                              <m:r>
                                <a:rPr lang="en-US" altLang="zh-CN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 </m:t>
                              </m:r>
                            </m:sub>
                          </m:sSub>
                          <m:d>
                            <m:dPr>
                              <m:begChr m:val="["/>
                              <m:endChr m:val="]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US" altLang="zh-CN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Φ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,</m:t>
                                  </m:r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</m:e>
                          </m:d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=&amp;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𝑟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𝛾</m:t>
                          </m:r>
                          <m:sSub>
                            <m:sSubPr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  <m:sub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~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𝑝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|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)</m:t>
                              </m:r>
                            </m:sub>
                          </m:sSub>
                          <m:d>
                            <m:dPr>
                              <m:begChr m:val="["/>
                              <m:endChr m:val="]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</m:e>
                          </m:d>
                        </m:e>
                      </m:eqArr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Cambria Math" panose="02040503050406030204" pitchFamily="18" charset="0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因此我们只需要拟合状态值函数来拟合优势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eqArrPr>
                        <m:e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𝐴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&amp;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−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&amp;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𝑟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𝛾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𝔼</m:t>
                              </m:r>
                            </m:e>
                            <m:sub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~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𝑝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|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)</m:t>
                              </m:r>
                            </m:sub>
                          </m:sSub>
                          <m:d>
                            <m:dPr>
                              <m:begChr m:val="["/>
                              <m:endChr m:val="]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e>
                          </m:d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≃&amp;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𝑟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+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阿里巴巴普惠体 R" panose="00020600040101010101" pitchFamily="18" charset="-122"/>
                            </a:rPr>
                            <m:t>𝛾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  <a:cs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阿里巴巴普惠体 R" panose="00020600040101010101" pitchFamily="18" charset="-122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e>
                          </m:d>
                        </m:e>
                      </m:eqAr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635" y="1271823"/>
                <a:ext cx="8033875" cy="4820752"/>
              </a:xfrm>
              <a:prstGeom prst="rect">
                <a:avLst/>
              </a:prstGeom>
              <a:blipFill>
                <a:blip r:embed="rId5"/>
                <a:stretch>
                  <a:fillRect l="-455" t="-75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" name="直接箭头连接符 8">
            <a:extLst>
              <a:ext uri="{FF2B5EF4-FFF2-40B4-BE49-F238E27FC236}">
                <a16:creationId xmlns:a16="http://schemas.microsoft.com/office/drawing/2014/main" id="{34859ABF-9C9B-46D5-A9E2-42F0FAF7B0E7}"/>
              </a:ext>
            </a:extLst>
          </p:cNvPr>
          <p:cNvCxnSpPr/>
          <p:nvPr/>
        </p:nvCxnSpPr>
        <p:spPr>
          <a:xfrm flipV="1">
            <a:off x="4663685" y="5193522"/>
            <a:ext cx="0" cy="32433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9">
                <a:extLst>
                  <a:ext uri="{FF2B5EF4-FFF2-40B4-BE49-F238E27FC236}">
                    <a16:creationId xmlns:a16="http://schemas.microsoft.com/office/drawing/2014/main" id="{0DD8AF7B-9840-491B-9AD4-2C03CFE29E3E}"/>
                  </a:ext>
                </a:extLst>
              </p:cNvPr>
              <p:cNvSpPr txBox="1"/>
              <p:nvPr/>
            </p:nvSpPr>
            <p:spPr>
              <a:xfrm>
                <a:off x="3482835" y="5612522"/>
                <a:ext cx="236170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dirty="0">
                    <a:solidFill>
                      <a:srgbClr val="00B0F0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采样下一个状态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p>
                        <m:r>
                          <a:rPr lang="en-US" altLang="zh-CN" b="0" i="1" smtClean="0">
                            <a:solidFill>
                              <a:srgbClr val="00B0F0"/>
                            </a:solidFill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</m:oMath>
                </a14:m>
                <a:endParaRPr lang="zh-CN" altLang="en-US" dirty="0">
                  <a:solidFill>
                    <a:srgbClr val="00B0F0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9" name="文本框 9">
                <a:extLst>
                  <a:ext uri="{FF2B5EF4-FFF2-40B4-BE49-F238E27FC236}">
                    <a16:creationId xmlns:a16="http://schemas.microsoft.com/office/drawing/2014/main" id="{0DD8AF7B-9840-491B-9AD4-2C03CFE29E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82835" y="5612522"/>
                <a:ext cx="2361700" cy="369332"/>
              </a:xfrm>
              <a:prstGeom prst="rect">
                <a:avLst/>
              </a:prstGeom>
              <a:blipFill>
                <a:blip r:embed="rId6"/>
                <a:stretch>
                  <a:fillRect t="-8333" b="-28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3783015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96832"/>
    </mc:Choice>
    <mc:Fallback xmlns="">
      <p:transition advTm="96832"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6FC4EC72-3878-46DC-B271-F21474137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51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71B0A317-CA6F-4D3A-87F9-A0CB5C40A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464" y="361507"/>
            <a:ext cx="7870345" cy="679131"/>
          </a:xfrm>
        </p:spPr>
        <p:txBody>
          <a:bodyPr/>
          <a:lstStyle/>
          <a:p>
            <a:r>
              <a:rPr lang="zh-CN" altLang="en-US" dirty="0"/>
              <a:t>价值和策略的近似逼近方法总结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83515A53-D28B-4149-8676-420D29BF58A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2444" y="1474381"/>
            <a:ext cx="8137922" cy="4662894"/>
          </a:xfrm>
        </p:spPr>
        <p:txBody>
          <a:bodyPr>
            <a:normAutofit/>
          </a:bodyPr>
          <a:lstStyle/>
          <a:p>
            <a:r>
              <a:rPr lang="zh-CN" altLang="en-US" sz="2000" dirty="0"/>
              <a:t>价值和策略的近似逼近方法是强化学习技术从‘玩具’ 走向‘现实’ 的第一步，是深度强化学习的基础设置</a:t>
            </a:r>
            <a:endParaRPr lang="en-US" altLang="zh-CN" sz="2000" dirty="0"/>
          </a:p>
          <a:p>
            <a:endParaRPr lang="en-US" altLang="zh-CN" sz="2000" dirty="0"/>
          </a:p>
          <a:p>
            <a:r>
              <a:rPr lang="zh-CN" altLang="en-US" sz="2000" dirty="0"/>
              <a:t>参数化的价值函数和策略</a:t>
            </a:r>
            <a:endParaRPr lang="en-US" altLang="zh-CN" sz="2000" dirty="0"/>
          </a:p>
          <a:p>
            <a:endParaRPr lang="en-US" altLang="zh-CN" sz="2000" dirty="0"/>
          </a:p>
          <a:p>
            <a:r>
              <a:rPr lang="zh-CN" altLang="en-US" sz="2000" dirty="0"/>
              <a:t>通过链式法则，价值函数的参数可以被直接学习</a:t>
            </a:r>
            <a:endParaRPr lang="en-US" altLang="zh-CN" sz="2000" dirty="0"/>
          </a:p>
          <a:p>
            <a:endParaRPr lang="en-US" altLang="zh-CN" sz="2000" dirty="0"/>
          </a:p>
          <a:p>
            <a:r>
              <a:rPr lang="zh-CN" altLang="en-US" sz="2000" dirty="0"/>
              <a:t>通过</a:t>
            </a:r>
            <a:r>
              <a:rPr lang="en-US" altLang="zh-CN" sz="2000" dirty="0"/>
              <a:t>likelihood-ratio</a:t>
            </a:r>
            <a:r>
              <a:rPr lang="zh-CN" altLang="en-US" sz="2000" dirty="0"/>
              <a:t>方法，可以用</a:t>
            </a:r>
            <a:r>
              <a:rPr lang="en-US" altLang="zh-CN" sz="2000" dirty="0"/>
              <a:t>advantage</a:t>
            </a:r>
            <a:r>
              <a:rPr lang="zh-CN" altLang="en-US" sz="2000" dirty="0"/>
              <a:t>对策略的参数进行学习</a:t>
            </a:r>
            <a:endParaRPr lang="en-US" altLang="zh-CN" sz="2000" dirty="0"/>
          </a:p>
          <a:p>
            <a:endParaRPr lang="en-US" altLang="zh-CN" sz="2000" dirty="0"/>
          </a:p>
          <a:p>
            <a:r>
              <a:rPr lang="en-US" altLang="zh-CN" sz="2000" dirty="0"/>
              <a:t>Actor-critic</a:t>
            </a:r>
            <a:r>
              <a:rPr lang="zh-CN" altLang="en-US" sz="2000" dirty="0"/>
              <a:t>框架同时学习了价值函数和策略，通过价值函数的</a:t>
            </a:r>
            <a:r>
              <a:rPr lang="en-US" altLang="zh-CN" sz="2000" dirty="0"/>
              <a:t>Q</a:t>
            </a:r>
            <a:r>
              <a:rPr lang="zh-CN" altLang="en-US" sz="2000" dirty="0"/>
              <a:t>（或</a:t>
            </a:r>
            <a:r>
              <a:rPr lang="en-US" altLang="zh-CN" sz="2000" dirty="0"/>
              <a:t>Advantage</a:t>
            </a:r>
            <a:r>
              <a:rPr lang="zh-CN" altLang="en-US" sz="2000" dirty="0"/>
              <a:t>）估计，以策略梯度的方式更新策略参数</a:t>
            </a:r>
          </a:p>
        </p:txBody>
      </p:sp>
    </p:spTree>
    <p:extLst>
      <p:ext uri="{BB962C8B-B14F-4D97-AF65-F5344CB8AC3E}">
        <p14:creationId xmlns:p14="http://schemas.microsoft.com/office/powerpoint/2010/main" val="2637220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68205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策略梯度定理：平均奖励原则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3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715130" cy="530694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77500" lnSpcReduction="2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平均奖励目标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𝐽</m:t>
                      </m:r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func>
                        <m:func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altLang="zh-CN" b="0" i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lim</m:t>
                              </m:r>
                            </m:e>
                            <m:li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𝑛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→∞</m:t>
                              </m:r>
                            </m:lim>
                          </m:limLow>
                        </m:fName>
                        <m:e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𝑛</m:t>
                              </m:r>
                            </m:den>
                          </m:f>
                          <m:r>
                            <a:rPr lang="zh-CN" altLang="en-US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𝔼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+…+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𝑛</m:t>
                                  </m:r>
                                </m:sub>
                              </m:sSub>
                            </m:e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</m:d>
                        </m:e>
                      </m:func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sub>
                        <m:sup/>
                        <m:e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𝑑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e>
                      </m:nary>
                      <m:nary>
                        <m:naryPr>
                          <m:chr m:val="∑"/>
                          <m:supHide m:val="on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sub>
                        <m:sup/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𝑟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𝑄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𝜋</m:t>
                          </m:r>
                        </m:sup>
                      </m:sSup>
                      <m:d>
                        <m:d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𝑡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1</m:t>
                          </m:r>
                        </m:sub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∞</m:t>
                          </m:r>
                        </m:sup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𝔼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[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𝑡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−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𝐽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𝜋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|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0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0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𝜋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]</m:t>
                          </m:r>
                        </m:e>
                      </m:nary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eqArrPr>
                        <m:e>
                          <m:f>
                            <m:fPr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sub>
                            <m:sup/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</m:e>
                          </m:nary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   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∀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&amp;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sub>
                            <m:sup/>
                            <m:e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  <m:d>
                                        <m:d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|</m:t>
                                          </m:r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</m:d>
                                    </m:num>
                                    <m:den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𝜃</m:t>
                                      </m:r>
                                    </m:den>
                                  </m:f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𝑄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+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</m:d>
                                  <m:f>
                                    <m:f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</m:t>
                                      </m:r>
                                    </m:num>
                                    <m:den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𝜃</m:t>
                                      </m:r>
                                    </m:den>
                                  </m:f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𝑄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</m:e>
                              </m:d>
                            </m:e>
                          </m:nary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&amp;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sub>
                            <m:sup/>
                            <m:e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𝜋</m:t>
                                      </m:r>
                                      <m:d>
                                        <m:d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|</m:t>
                                          </m:r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</m:d>
                                    </m:num>
                                    <m:den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𝜃</m:t>
                                      </m:r>
                                    </m:den>
                                  </m:f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𝑄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+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</m:d>
                                  <m:f>
                                    <m:f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</m:t>
                                      </m:r>
                                    </m:num>
                                    <m:den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𝜃</m:t>
                                      </m:r>
                                    </m:den>
                                  </m:f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𝑟</m:t>
                                      </m:r>
                                      <m:d>
                                        <m:d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,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</m:e>
                                      </m:d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−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𝐽</m:t>
                                      </m:r>
                                      <m:d>
                                        <m:d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</m:e>
                                      </m:d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+</m:t>
                                      </m:r>
                                      <m:nary>
                                        <m:naryPr>
                                          <m:chr m:val="∑"/>
                                          <m:supHide m:val="on"/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naryPr>
                                        <m:sub>
                                          <m:sSup>
                                            <m:sSupPr>
                                              <m:ctrlP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′</m:t>
                                              </m:r>
                                            </m:sup>
                                          </m:sSup>
                                        </m:sub>
                                        <m:sup/>
                                        <m:e>
                                          <m:sSubSup>
                                            <m:sSubSupPr>
                                              <m:ctrlP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sSubSupPr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𝑃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  <m:sSup>
                                                <m:sSupPr>
                                                  <m:ctrlPr>
                                                    <a:rPr lang="en-US" altLang="zh-CN" b="0" i="1" smtClean="0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</a:rPr>
                                                  </m:ctrlPr>
                                                </m:sSupPr>
                                                <m:e>
                                                  <m:r>
                                                    <a:rPr lang="en-US" altLang="zh-CN" b="0" i="1" smtClean="0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</a:rPr>
                                                    <m:t>𝑠</m:t>
                                                  </m:r>
                                                </m:e>
                                                <m:sup>
                                                  <m:r>
                                                    <a:rPr lang="en-US" altLang="zh-CN" b="0" i="1" smtClean="0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</a:rPr>
                                                    <m:t>′</m:t>
                                                  </m:r>
                                                </m:sup>
                                              </m:sSup>
                                            </m:sub>
                                            <m:sup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𝑎</m:t>
                                              </m:r>
                                            </m:sup>
                                          </m:sSubSup>
                                          <m:sSup>
                                            <m:sSupPr>
                                              <m:ctrlP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𝑉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𝜋</m:t>
                                              </m:r>
                                            </m:sup>
                                          </m:sSup>
                                          <m:d>
                                            <m:dPr>
                                              <m:ctrlP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dPr>
                                            <m:e>
                                              <m:sSup>
                                                <m:sSupPr>
                                                  <m:ctrlPr>
                                                    <a:rPr lang="en-US" altLang="zh-CN" b="0" i="1" smtClean="0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</a:rPr>
                                                  </m:ctrlPr>
                                                </m:sSupPr>
                                                <m:e>
                                                  <m:r>
                                                    <a:rPr lang="en-US" altLang="zh-CN" b="0" i="1" smtClean="0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</a:rPr>
                                                    <m:t>𝑠</m:t>
                                                  </m:r>
                                                </m:e>
                                                <m:sup>
                                                  <m:r>
                                                    <a:rPr lang="en-US" altLang="zh-CN" b="0" i="1" smtClean="0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</a:rPr>
                                                    <m:t>′</m:t>
                                                  </m:r>
                                                </m:sup>
                                              </m:sSup>
                                            </m:e>
                                          </m:d>
                                        </m:e>
                                      </m:nary>
                                    </m:e>
                                  </m:d>
                                </m:e>
                              </m:d>
                            </m:e>
                          </m:nary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sub>
                            <m:sup/>
                            <m:e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𝜋</m:t>
                                      </m:r>
                                      <m:d>
                                        <m:d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|</m:t>
                                          </m:r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</m:d>
                                    </m:num>
                                    <m:den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𝜃</m:t>
                                      </m:r>
                                    </m:den>
                                  </m:f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𝑄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+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</m:d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−</m:t>
                                      </m:r>
                                      <m:f>
                                        <m:f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fPr>
                                        <m:num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𝜕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𝐽</m:t>
                                          </m:r>
                                          <m:d>
                                            <m:dPr>
                                              <m:ctrlP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dPr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𝜋</m:t>
                                              </m:r>
                                            </m:e>
                                          </m:d>
                                        </m:num>
                                        <m:den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𝜕𝜃</m:t>
                                          </m:r>
                                        </m:den>
                                      </m:f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+</m:t>
                                      </m:r>
                                      <m:f>
                                        <m:f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fPr>
                                        <m:num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𝜕</m:t>
                                          </m:r>
                                        </m:num>
                                        <m:den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𝜕𝜃</m:t>
                                          </m:r>
                                        </m:den>
                                      </m:f>
                                      <m:nary>
                                        <m:naryPr>
                                          <m:chr m:val="∑"/>
                                          <m:supHide m:val="on"/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naryPr>
                                        <m:sub>
                                          <m:sSup>
                                            <m:sSup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′</m:t>
                                              </m:r>
                                            </m:sup>
                                          </m:sSup>
                                        </m:sub>
                                        <m:sup/>
                                        <m:e>
                                          <m:sSubSup>
                                            <m:sSubSup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sSubSupPr>
                                            <m:e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𝑃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  <m:sSup>
                                                <m:sSupPr>
                                                  <m:ctrlPr>
                                                    <a:rPr lang="en-US" altLang="zh-CN" i="1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</a:rPr>
                                                  </m:ctrlPr>
                                                </m:sSupPr>
                                                <m:e>
                                                  <m:r>
                                                    <a:rPr lang="en-US" altLang="zh-CN" i="1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</a:rPr>
                                                    <m:t>𝑠</m:t>
                                                  </m:r>
                                                </m:e>
                                                <m:sup>
                                                  <m:r>
                                                    <a:rPr lang="en-US" altLang="zh-CN" i="1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</a:rPr>
                                                    <m:t>′</m:t>
                                                  </m:r>
                                                </m:sup>
                                              </m:sSup>
                                            </m:sub>
                                            <m:sup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𝑎</m:t>
                                              </m:r>
                                            </m:sup>
                                          </m:sSubSup>
                                          <m:sSup>
                                            <m:sSup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𝑉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𝜋</m:t>
                                              </m:r>
                                            </m:sup>
                                          </m:sSup>
                                          <m:d>
                                            <m:d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dPr>
                                            <m:e>
                                              <m:sSup>
                                                <m:sSupPr>
                                                  <m:ctrlPr>
                                                    <a:rPr lang="en-US" altLang="zh-CN" i="1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</a:rPr>
                                                  </m:ctrlPr>
                                                </m:sSupPr>
                                                <m:e>
                                                  <m:r>
                                                    <a:rPr lang="en-US" altLang="zh-CN" i="1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</a:rPr>
                                                    <m:t>𝑠</m:t>
                                                  </m:r>
                                                </m:e>
                                                <m:sup>
                                                  <m:r>
                                                    <a:rPr lang="en-US" altLang="zh-CN" i="1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</a:rPr>
                                                    <m:t>′</m:t>
                                                  </m:r>
                                                </m:sup>
                                              </m:sSup>
                                            </m:e>
                                          </m:d>
                                        </m:e>
                                      </m:nary>
                                    </m:e>
                                  </m:d>
                                </m:e>
                              </m:d>
                            </m:e>
                          </m:nary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⇒</m:t>
                          </m:r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𝐽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sub>
                            <m:sup/>
                            <m:e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𝜋</m:t>
                                      </m:r>
                                      <m:d>
                                        <m:d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|</m:t>
                                          </m:r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</m:d>
                                    </m:num>
                                    <m:den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𝜃</m:t>
                                      </m:r>
                                    </m:den>
                                  </m:f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𝑄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+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</m:d>
                                  <m:nary>
                                    <m:naryPr>
                                      <m:chr m:val="∑"/>
                                      <m:supHide m:val="on"/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naryPr>
                                    <m:sub>
                                      <m:sSup>
                                        <m:sSup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  <m: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′</m:t>
                                          </m:r>
                                        </m:sup>
                                      </m:sSup>
                                    </m:sub>
                                    <m:sup/>
                                    <m:e>
                                      <m:sSubSup>
                                        <m:sSubSup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𝑃</m:t>
                                          </m:r>
                                        </m:e>
                                        <m: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  <m:sSup>
                                            <m:sSup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′</m:t>
                                              </m:r>
                                            </m:sup>
                                          </m:sSup>
                                        </m:sub>
                                        <m: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</m:sup>
                                      </m:sSubSup>
                                      <m:f>
                                        <m:f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fPr>
                                        <m:num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𝜕</m:t>
                                          </m:r>
                                          <m:sSup>
                                            <m:sSup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𝑉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𝜋</m:t>
                                              </m:r>
                                            </m:sup>
                                          </m:sSup>
                                          <m:d>
                                            <m:d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dPr>
                                            <m:e>
                                              <m:sSup>
                                                <m:sSupPr>
                                                  <m:ctrlPr>
                                                    <a:rPr lang="en-US" altLang="zh-CN" b="0" i="1" smtClean="0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</a:rPr>
                                                  </m:ctrlPr>
                                                </m:sSupPr>
                                                <m:e>
                                                  <m:r>
                                                    <a:rPr lang="en-US" altLang="zh-CN" i="1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</a:rPr>
                                                    <m:t>𝑠</m:t>
                                                  </m:r>
                                                </m:e>
                                                <m:sup>
                                                  <m:r>
                                                    <a:rPr lang="en-US" altLang="zh-CN" b="0" i="1" smtClean="0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</a:rPr>
                                                    <m:t>′</m:t>
                                                  </m:r>
                                                </m:sup>
                                              </m:sSup>
                                            </m:e>
                                          </m:d>
                                        </m:num>
                                        <m:den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𝜕𝜃</m:t>
                                          </m:r>
                                        </m:den>
                                      </m:f>
                                    </m:e>
                                  </m:nary>
                                </m:e>
                              </m:d>
                            </m:e>
                          </m:nary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−</m:t>
                          </m:r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</m:eqAr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715130" cy="5306941"/>
              </a:xfrm>
              <a:prstGeom prst="rect">
                <a:avLst/>
              </a:prstGeom>
              <a:blipFill>
                <a:blip r:embed="rId2"/>
                <a:stretch>
                  <a:fillRect l="-70" t="-10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extBox 2">
            <a:extLst>
              <a:ext uri="{FF2B5EF4-FFF2-40B4-BE49-F238E27FC236}">
                <a16:creationId xmlns:a16="http://schemas.microsoft.com/office/drawing/2014/main" id="{BDF9B5CE-8052-4A37-B44F-81611A16FD98}"/>
              </a:ext>
            </a:extLst>
          </p:cNvPr>
          <p:cNvSpPr txBox="1"/>
          <p:nvPr/>
        </p:nvSpPr>
        <p:spPr>
          <a:xfrm>
            <a:off x="281883" y="6526924"/>
            <a:ext cx="57038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推导过程请参考</a:t>
            </a:r>
            <a:r>
              <a:rPr lang="en-US" altLang="zh-CN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Rich Sutton Reinforcement Learning: An Introduction (2</a:t>
            </a:r>
            <a:r>
              <a:rPr lang="en-US" altLang="zh-CN" sz="1000" baseline="30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nd</a:t>
            </a:r>
            <a:r>
              <a:rPr lang="en-US" altLang="zh-CN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Edition)</a:t>
            </a:r>
            <a:r>
              <a:rPr lang="zh-CN" altLang="en-US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第</a:t>
            </a:r>
            <a:r>
              <a:rPr lang="en-US" altLang="zh-CN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3</a:t>
            </a:r>
            <a:r>
              <a:rPr lang="zh-CN" altLang="en-US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章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A55BF50B-FC44-49A8-B035-2EFA6D2083FF}"/>
                  </a:ext>
                </a:extLst>
              </p:cNvPr>
              <p:cNvSpPr txBox="1"/>
              <p:nvPr/>
            </p:nvSpPr>
            <p:spPr>
              <a:xfrm>
                <a:off x="2053065" y="2752529"/>
                <a:ext cx="391453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altLang="zh-CN" sz="1000" b="0" i="1" smtClean="0">
                          <a:latin typeface="Cambria Math" panose="02040503050406030204" pitchFamily="18" charset="0"/>
                        </a:rPr>
                        <m:t>def</m:t>
                      </m:r>
                    </m:oMath>
                  </m:oMathPara>
                </a14:m>
                <a:endParaRPr lang="zh-CN" altLang="en-US" sz="1000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A55BF50B-FC44-49A8-B035-2EFA6D2083F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53065" y="2752529"/>
                <a:ext cx="391453" cy="24622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文本框 6">
            <a:extLst>
              <a:ext uri="{FF2B5EF4-FFF2-40B4-BE49-F238E27FC236}">
                <a16:creationId xmlns:a16="http://schemas.microsoft.com/office/drawing/2014/main" id="{E5D343CF-AABE-4379-82C3-4FC1846AA008}"/>
              </a:ext>
            </a:extLst>
          </p:cNvPr>
          <p:cNvSpPr txBox="1"/>
          <p:nvPr/>
        </p:nvSpPr>
        <p:spPr>
          <a:xfrm>
            <a:off x="430523" y="145018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附录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3316358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2"/>
                <a:ext cx="8487445" cy="576066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77500" lnSpcReduction="2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2100" dirty="0">
                    <a:ea typeface="阿里巴巴普惠体 R" panose="00020600040101010101" pitchFamily="18" charset="-122"/>
                  </a:rPr>
                  <a:t>目标函数</a:t>
                </a:r>
                <a:endParaRPr lang="en-US" altLang="zh-CN" sz="2100" dirty="0">
                  <a:ea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𝐽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𝜋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</m:sub>
                        <m:sup/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[</m:t>
                          </m:r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𝜋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+</m:t>
                          </m:r>
                          <m:r>
                            <m:rPr>
                              <m:brk m:alnAt="7"/>
                            </m:r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𝜋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|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′</m:t>
                              </m:r>
                            </m:sub>
                            <m:sup/>
                            <m:e>
                              <m:sSubSup>
                                <m:sSub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𝑠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sub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sup>
                              </m:sSubSup>
                              <m:f>
                                <m:f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</m:t>
                                  </m:r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(</m:t>
                                  </m:r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)</m:t>
                                  </m:r>
                                </m:num>
                                <m:den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</m:e>
                          </m:nary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]</m:t>
                          </m:r>
                        </m:e>
                      </m:nary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−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supHide m:val="on"/>
                          <m:ctrlP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sub>
                        <m:sup/>
                        <m:e>
                          <m:sSup>
                            <m:sSupPr>
                              <m:ctrlP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𝑑</m:t>
                              </m:r>
                            </m:e>
                            <m:sup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  <m:f>
                            <m:fPr>
                              <m:ctrlP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𝐽</m:t>
                              </m:r>
                              <m:d>
                                <m:dPr>
                                  <m:ctrlP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6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</m:nary>
                      <m:r>
                        <a:rPr lang="en-US" altLang="zh-CN" sz="16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sub>
                        <m:sup/>
                        <m:e>
                          <m:sSup>
                            <m:sSupPr>
                              <m:ctrlP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𝑑</m:t>
                              </m:r>
                            </m:e>
                            <m:sup>
                              <m:r>
                                <a:rPr lang="en-US" altLang="zh-CN" sz="16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e>
                      </m:nary>
                      <m:nary>
                        <m:naryPr>
                          <m:chr m:val="∑"/>
                          <m:supHide m:val="on"/>
                          <m:ctrlP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sub>
                        <m:sup/>
                        <m:e>
                          <m:f>
                            <m:fPr>
                              <m:ctrlP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𝜋</m:t>
                              </m:r>
                              <m:d>
                                <m:dPr>
                                  <m:ctrlPr>
                                    <a:rPr lang="en-US" altLang="zh-CN" sz="16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6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e>
                                  <m:r>
                                    <a:rPr lang="en-US" altLang="zh-CN" sz="16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sSup>
                            <m:sSupPr>
                              <m:ctrlP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p>
                              <m: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</m:e>
                      </m:nary>
                      <m:r>
                        <a:rPr lang="en-US" altLang="zh-CN" sz="16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+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sub>
                        <m:sup/>
                        <m:e>
                          <m:sSup>
                            <m:sSupPr>
                              <m:ctrlP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𝑑</m:t>
                              </m:r>
                            </m:e>
                            <m:sup>
                              <m: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</m:e>
                      </m:nary>
                      <m:nary>
                        <m:naryPr>
                          <m:chr m:val="∑"/>
                          <m:supHide m:val="on"/>
                          <m:ctrlP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sz="16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sub>
                        <m:sup/>
                        <m:e>
                          <m:r>
                            <m:rPr>
                              <m:brk m:alnAt="7"/>
                            </m:rP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𝜋</m:t>
                          </m:r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|</m:t>
                          </m:r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′</m:t>
                              </m:r>
                            </m:sub>
                            <m:sup/>
                            <m:e>
                              <m:sSubSup>
                                <m:sSubSupPr>
                                  <m:ctrlPr>
                                    <a:rPr lang="en-US" altLang="zh-CN" sz="16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sz="16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altLang="zh-CN" sz="16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𝑠</m:t>
                                  </m:r>
                                  <m:r>
                                    <a:rPr lang="en-US" altLang="zh-CN" sz="16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sub>
                                <m:sup>
                                  <m:r>
                                    <a:rPr lang="en-US" altLang="zh-CN" sz="16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sup>
                              </m:sSubSup>
                              <m:f>
                                <m:fPr>
                                  <m:ctrlPr>
                                    <a:rPr lang="en-US" altLang="zh-CN" sz="16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sz="16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</m:t>
                                  </m:r>
                                  <m:sSup>
                                    <m:sSupPr>
                                      <m:ctrlPr>
                                        <a:rPr lang="en-US" altLang="zh-CN" sz="16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16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en-US" altLang="zh-CN" sz="16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r>
                                    <a:rPr lang="en-US" altLang="zh-CN" sz="16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(</m:t>
                                  </m:r>
                                  <m:sSup>
                                    <m:sSupPr>
                                      <m:ctrlPr>
                                        <a:rPr lang="en-US" altLang="zh-CN" sz="16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16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sz="16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  <m:r>
                                    <a:rPr lang="en-US" altLang="zh-CN" sz="16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)</m:t>
                                  </m:r>
                                </m:num>
                                <m:den>
                                  <m:r>
                                    <a:rPr lang="en-US" altLang="zh-CN" sz="16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</m:e>
                          </m:nary>
                        </m:e>
                      </m:nary>
                      <m:r>
                        <a:rPr lang="en-US" altLang="zh-CN" sz="1600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−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</m:sub>
                        <m:sup/>
                        <m:e>
                          <m:sSup>
                            <m:sSupPr>
                              <m:ctrlP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𝑑</m:t>
                              </m:r>
                            </m:e>
                            <m:sup>
                              <m: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sz="16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)</m:t>
                          </m:r>
                          <m:f>
                            <m:fPr>
                              <m:ctrlP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p>
                                <m:sSupPr>
                                  <m:ctrlPr>
                                    <a:rPr lang="en-US" altLang="zh-CN" sz="16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6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sz="16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sz="16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600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sz="1600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</m:nary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eqArr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 &amp;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sub>
                            <m:sup/>
                            <m:e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𝑑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e>
                          </m:nary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sub>
                            <m:sup/>
                            <m:e>
                              <m:r>
                                <m:rPr>
                                  <m:brk m:alnAt="7"/>
                                </m:r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naryPr>
                                <m:sub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sub>
                                <m:sup/>
                                <m:e>
                                  <m:sSubSup>
                                    <m:sSub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𝑃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sSup>
                                        <m:sSup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  <m: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′</m:t>
                                          </m:r>
                                        </m:sup>
                                      </m:sSup>
                                    </m:sub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sup>
                                  </m:sSubSup>
                                  <m:f>
                                    <m:f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</m:t>
                                      </m:r>
                                      <m:sSup>
                                        <m:sSup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𝑉</m:t>
                                          </m:r>
                                        </m:e>
                                        <m: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</m:sup>
                                      </m:sSup>
                                      <m:d>
                                        <m:d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sSup>
                                            <m:sSup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′</m:t>
                                              </m:r>
                                            </m:sup>
                                          </m:sSup>
                                        </m:e>
                                      </m:d>
                                    </m:num>
                                    <m:den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𝜃</m:t>
                                      </m:r>
                                    </m:den>
                                  </m:f>
                                </m:e>
                              </m:nary>
                            </m:e>
                          </m:nary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sub>
                            <m:sup/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 </m:t>
                              </m:r>
                            </m:e>
                          </m:nary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sub>
                            <m:sup/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 </m:t>
                              </m:r>
                            </m:e>
                          </m:nary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  <m:sup/>
                            <m:e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𝑑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e>
                          </m:nary>
                          <m:r>
                            <m:rPr>
                              <m:brk m:alnAt="7"/>
                            </m:r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𝜋</m:t>
                          </m:r>
                          <m:d>
                            <m:d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</m:d>
                          <m:sSubSup>
                            <m:sSub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sup>
                          </m:sSubSup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sub>
                            <m:sup/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 </m:t>
                              </m:r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naryPr>
                                <m:sub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sub>
                                <m:sup/>
                                <m:e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𝑑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</m:d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nary>
                                        <m:naryPr>
                                          <m:chr m:val="∑"/>
                                          <m:supHide m:val="on"/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naryPr>
                                        <m:sub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</m:sub>
                                        <m:sup/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  <m:d>
                                            <m:dPr>
                                              <m:ctrlP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dPr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𝑎</m:t>
                                              </m:r>
                                            </m:e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</m:e>
                                          </m:d>
                                          <m:sSubSup>
                                            <m:sSubSupPr>
                                              <m:ctrlP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</m:ctrlPr>
                                            </m:sSubSupPr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𝑃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  <m:sSup>
                                                <m:sSupPr>
                                                  <m:ctrlPr>
                                                    <a:rPr lang="en-US" altLang="zh-CN" b="0" i="1" smtClean="0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  <a:cs typeface="阿里巴巴普惠体 R" panose="00020600040101010101" pitchFamily="18" charset="-122"/>
                                                    </a:rPr>
                                                  </m:ctrlPr>
                                                </m:sSupPr>
                                                <m:e>
                                                  <m:r>
                                                    <a:rPr lang="en-US" altLang="zh-CN" b="0" i="1" smtClean="0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  <a:cs typeface="阿里巴巴普惠体 R" panose="00020600040101010101" pitchFamily="18" charset="-122"/>
                                                    </a:rPr>
                                                    <m:t>𝑠</m:t>
                                                  </m:r>
                                                </m:e>
                                                <m:sup>
                                                  <m:r>
                                                    <a:rPr lang="en-US" altLang="zh-CN" b="0" i="1" smtClean="0">
                                                      <a:latin typeface="Cambria Math" panose="02040503050406030204" pitchFamily="18" charset="0"/>
                                                      <a:ea typeface="阿里巴巴普惠体 R" panose="00020600040101010101" pitchFamily="18" charset="-122"/>
                                                      <a:cs typeface="阿里巴巴普惠体 R" panose="00020600040101010101" pitchFamily="18" charset="-122"/>
                                                    </a:rPr>
                                                    <m:t>′</m:t>
                                                  </m:r>
                                                </m:sup>
                                              </m:sSup>
                                            </m:sub>
                                            <m:sup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  <a:cs typeface="阿里巴巴普惠体 R" panose="00020600040101010101" pitchFamily="18" charset="-122"/>
                                                </a:rPr>
                                                <m:t>𝑎</m:t>
                                              </m:r>
                                            </m:sup>
                                          </m:sSubSup>
                                        </m:e>
                                      </m:nary>
                                    </m:e>
                                  </m:d>
                                </m:e>
                              </m:nary>
                            </m:e>
                          </m:nary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sub>
                            <m:sup/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 </m:t>
                              </m:r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naryPr>
                                <m:sub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sub>
                                <m:sup/>
                                <m:e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𝑑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</m:d>
                                </m:e>
                              </m:nary>
                            </m:e>
                          </m:nary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</m:sSub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  <m:sup/>
                            <m:e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nary>
                                    <m:naryPr>
                                      <m:chr m:val="∑"/>
                                      <m:supHide m:val="on"/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sub>
                                    <m:sup/>
                                    <m:e>
                                      <m:sSup>
                                        <m:sSup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𝑑</m:t>
                                          </m:r>
                                        </m:e>
                                        <m:sup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</m:sup>
                                      </m:sSup>
                                      <m:d>
                                        <m:d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</m:d>
                                      <m:sSub>
                                        <m:sSub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𝑃</m:t>
                                          </m:r>
                                        </m:e>
                                        <m: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  <m:sSup>
                                            <m:sSupPr>
                                              <m:ctrlP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i="1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′</m:t>
                                              </m:r>
                                            </m:sup>
                                          </m:sSup>
                                        </m:sub>
                                      </m:sSub>
                                    </m:e>
                                  </m:nary>
                                </m:e>
                              </m:d>
                              <m:f>
                                <m:f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</m:t>
                                  </m:r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sSup>
                                        <m:sSup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  <m: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′</m:t>
                                          </m:r>
                                        </m:sup>
                                      </m:sSup>
                                    </m:e>
                                  </m:d>
                                </m:num>
                                <m:den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</m:e>
                          </m:nary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  <m:sup/>
                            <m:e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𝑑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e>
                              </m:d>
                              <m:f>
                                <m:f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</m:t>
                                  </m:r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sSup>
                                        <m:sSup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  <m: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′</m:t>
                                          </m:r>
                                        </m:sup>
                                      </m:sSup>
                                    </m:e>
                                  </m:d>
                                </m:num>
                                <m:den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</m:e>
                          </m:nary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⇒&amp;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sub>
                            <m:sup/>
                            <m:e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𝑑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  <m:f>
                                <m:f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𝐽</m:t>
                                  </m:r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</m:d>
                                </m:num>
                                <m:den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</m:e>
                          </m:nary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sub>
                            <m:sup/>
                            <m:e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𝑑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e>
                          </m:nary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sub>
                            <m:sup/>
                            <m:e>
                              <m:f>
                                <m:f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𝜋</m:t>
                                  </m:r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</m:d>
                                </m:num>
                                <m:den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e>
                          </m:nary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+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  <m:sup/>
                            <m:e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𝑑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′</m:t>
                                  </m:r>
                                </m:e>
                              </m:d>
                              <m:f>
                                <m:f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</m:t>
                                  </m:r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sSup>
                                        <m:sSup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  <m:sup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′</m:t>
                                          </m:r>
                                        </m:sup>
                                      </m:sSup>
                                    </m:e>
                                  </m:d>
                                </m:num>
                                <m:den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</m:e>
                          </m:nary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−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sub>
                            <m:sup/>
                            <m:e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𝑑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  <m:f>
                                <m:f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</m:t>
                                  </m:r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</m:d>
                                </m:num>
                                <m:den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</m:e>
                          </m:nary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⇒&amp;</m:t>
                          </m:r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𝐽</m:t>
                              </m:r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</m:sub>
                            <m:sup/>
                            <m:e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𝑑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e>
                          </m:nary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sub>
                            <m:sup/>
                            <m:e>
                              <m:f>
                                <m:f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𝜋</m:t>
                                  </m:r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</m:d>
                                </m:num>
                                <m:den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e>
                          </m:nary>
                        </m:e>
                      </m:eqAr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2"/>
                <a:ext cx="8487445" cy="5760667"/>
              </a:xfrm>
              <a:prstGeom prst="rect">
                <a:avLst/>
              </a:prstGeom>
              <a:blipFill>
                <a:blip r:embed="rId2"/>
                <a:stretch>
                  <a:fillRect l="-72" t="-11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策略梯度定理：平均奖励原则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4</a:t>
            </a:fld>
            <a:endParaRPr lang="zh-CN" altLang="en-US" dirty="0"/>
          </a:p>
        </p:txBody>
      </p:sp>
      <p:sp>
        <p:nvSpPr>
          <p:cNvPr id="9" name="文本框 6">
            <a:extLst>
              <a:ext uri="{FF2B5EF4-FFF2-40B4-BE49-F238E27FC236}">
                <a16:creationId xmlns:a16="http://schemas.microsoft.com/office/drawing/2014/main" id="{15FA33F5-FD35-4F69-8939-869980E0352B}"/>
              </a:ext>
            </a:extLst>
          </p:cNvPr>
          <p:cNvSpPr txBox="1"/>
          <p:nvPr/>
        </p:nvSpPr>
        <p:spPr>
          <a:xfrm>
            <a:off x="430523" y="145018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附录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07F6C19B-CD5F-97DF-5A0E-931456BD619B}"/>
              </a:ext>
            </a:extLst>
          </p:cNvPr>
          <p:cNvSpPr txBox="1"/>
          <p:nvPr/>
        </p:nvSpPr>
        <p:spPr>
          <a:xfrm>
            <a:off x="281883" y="6526924"/>
            <a:ext cx="57038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推导过程请参考</a:t>
            </a:r>
            <a:r>
              <a:rPr lang="en-US" altLang="zh-CN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Rich Sutton Reinforcement Learning: An Introduction (2</a:t>
            </a:r>
            <a:r>
              <a:rPr lang="en-US" altLang="zh-CN" sz="1000" baseline="30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nd</a:t>
            </a:r>
            <a:r>
              <a:rPr lang="en-US" altLang="zh-CN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Edition)</a:t>
            </a:r>
            <a:r>
              <a:rPr lang="zh-CN" altLang="en-US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第</a:t>
            </a:r>
            <a:r>
              <a:rPr lang="en-US" altLang="zh-CN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3</a:t>
            </a:r>
            <a:r>
              <a:rPr lang="zh-CN" altLang="en-US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章</a:t>
            </a:r>
          </a:p>
        </p:txBody>
      </p:sp>
    </p:spTree>
    <p:extLst>
      <p:ext uri="{BB962C8B-B14F-4D97-AF65-F5344CB8AC3E}">
        <p14:creationId xmlns:p14="http://schemas.microsoft.com/office/powerpoint/2010/main" val="66011327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策略梯度定理：起始价值原则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5</a:t>
            </a:fld>
            <a:endParaRPr lang="zh-CN" alt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540684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600" dirty="0">
                    <a:ea typeface="阿里巴巴普惠体 R" panose="00020600040101010101" pitchFamily="18" charset="-122"/>
                  </a:rPr>
                  <a:t>起始状态价值目标</a:t>
                </a:r>
                <a:endParaRPr lang="en-US" altLang="zh-CN" sz="1600" dirty="0">
                  <a:ea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sz="19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eqArrPr>
                        <m:e>
                          <m:r>
                            <a:rPr lang="en-US" altLang="zh-CN" sz="19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𝐽</m:t>
                          </m:r>
                          <m:d>
                            <m:dPr>
                              <m:ctrlP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</m:d>
                          <m:r>
                            <a:rPr lang="en-US" altLang="zh-CN" sz="19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&amp;</m:t>
                          </m:r>
                          <m:r>
                            <a:rPr lang="en-US" altLang="zh-CN" sz="19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d>
                                <m:dPr>
                                  <m:begChr m:val=""/>
                                  <m:endChr m:val="|"/>
                                  <m:ctrlP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nary>
                                    <m:naryPr>
                                      <m:chr m:val="∑"/>
                                      <m:ctrlP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𝑡</m:t>
                                      </m:r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∞</m:t>
                                      </m:r>
                                    </m:sup>
                                    <m:e>
                                      <m:sSup>
                                        <m:sSupPr>
                                          <m:ctrlP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𝛾</m:t>
                                          </m:r>
                                        </m:e>
                                        <m:sup>
                                          <m: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𝑡</m:t>
                                          </m:r>
                                          <m: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−1</m:t>
                                          </m:r>
                                        </m:sup>
                                      </m:sSup>
                                      <m:sSub>
                                        <m:sSubPr>
                                          <m:ctrlP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𝑟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𝑡</m:t>
                                          </m:r>
                                        </m:sub>
                                      </m:sSub>
                                    </m:e>
                                  </m:nary>
                                </m:e>
                              </m:d>
                              <m:sSub>
                                <m:sSubPr>
                                  <m:ctrlP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0</m:t>
                                  </m:r>
                                </m:sub>
                              </m:sSub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</m:d>
                        </m:e>
                        <m:e>
                          <m:sSup>
                            <m:sSupPr>
                              <m:ctrlP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p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  <m:r>
                            <a:rPr lang="en-US" altLang="zh-CN" sz="19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&amp;</m:t>
                          </m:r>
                          <m:r>
                            <a:rPr lang="en-US" altLang="zh-CN" sz="19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𝔼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d>
                                <m:dPr>
                                  <m:begChr m:val=""/>
                                  <m:endChr m:val="|"/>
                                  <m:ctrlP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nary>
                                    <m:naryPr>
                                      <m:chr m:val="∑"/>
                                      <m:ctrlP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𝑘</m:t>
                                      </m:r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=1</m:t>
                                      </m:r>
                                    </m:sub>
                                    <m:sup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∞</m:t>
                                      </m:r>
                                    </m:sup>
                                    <m:e>
                                      <m:sSup>
                                        <m:sSupPr>
                                          <m:ctrlP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𝛾</m:t>
                                          </m:r>
                                        </m:e>
                                        <m:sup>
                                          <m: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𝑘</m:t>
                                          </m:r>
                                          <m: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−1</m:t>
                                          </m:r>
                                        </m:sup>
                                      </m:sSup>
                                      <m:sSub>
                                        <m:sSubPr>
                                          <m:ctrlP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𝑟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𝑡</m:t>
                                          </m:r>
                                          <m: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+</m:t>
                                          </m:r>
                                          <m: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  <a:cs typeface="阿里巴巴普惠体 R" panose="00020600040101010101" pitchFamily="18" charset="-122"/>
                                            </a:rPr>
                                            <m:t>𝑘</m:t>
                                          </m:r>
                                        </m:sub>
                                      </m:sSub>
                                    </m:e>
                                  </m:nary>
                                </m:e>
                              </m:d>
                              <m:sSub>
                                <m:sSubPr>
                                  <m:ctrlP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=</m:t>
                              </m:r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  <m:sub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=</m:t>
                              </m:r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</m:d>
                        </m:e>
                        <m:e>
                          <m:f>
                            <m:fPr>
                              <m:ctrlP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p>
                                <m:sSupPr>
                                  <m:ctrlP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r>
                            <a:rPr lang="en-US" altLang="zh-CN" sz="19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sz="1900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&amp;</m:t>
                          </m:r>
                          <m:f>
                            <m:fPr>
                              <m:ctrlPr>
                                <a:rPr lang="en-US" altLang="zh-CN" sz="190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</m:num>
                            <m:den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sub>
                            <m:sup/>
                            <m:e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  <m:d>
                                <m:dPr>
                                  <m:ctrlP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  <m:sSup>
                                <m:sSupPr>
                                  <m:ctrlP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p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</m:e>
                          </m:nary>
                          <m:r>
                            <a:rPr lang="en-US" altLang="zh-CN" sz="1900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    </m:t>
                          </m:r>
                          <m:r>
                            <a:rPr lang="en-US" altLang="zh-CN" sz="19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∀</m:t>
                          </m:r>
                          <m:r>
                            <a:rPr lang="en-US" altLang="zh-CN" sz="19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  <m:e>
                          <m:r>
                            <a:rPr lang="en-US" altLang="zh-CN" sz="19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&amp;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sub>
                            <m:sup/>
                            <m:e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ctrlP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𝜕𝜋</m:t>
                                      </m:r>
                                      <m:d>
                                        <m:dPr>
                                          <m:ctrlPr>
                                            <a:rPr lang="en-US" altLang="zh-CN" sz="1900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sz="1900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𝑠</m:t>
                                          </m:r>
                                          <m:r>
                                            <a:rPr lang="en-US" altLang="zh-CN" sz="1900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en-US" altLang="zh-CN" sz="1900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𝑎</m:t>
                                          </m:r>
                                        </m:e>
                                      </m:d>
                                    </m:num>
                                    <m:den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𝜕𝜃</m:t>
                                      </m:r>
                                    </m:den>
                                  </m:f>
                                  <m:sSup>
                                    <m:sSupPr>
                                      <m:ctrlP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𝑄</m:t>
                                      </m:r>
                                    </m:e>
                                    <m:sup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𝑎</m:t>
                                      </m:r>
                                    </m:e>
                                  </m:d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𝜋</m:t>
                                  </m:r>
                                  <m:d>
                                    <m:dPr>
                                      <m:ctrlP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𝑎</m:t>
                                      </m:r>
                                    </m:e>
                                  </m:d>
                                  <m:f>
                                    <m:fPr>
                                      <m:ctrlP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𝜕</m:t>
                                      </m:r>
                                    </m:num>
                                    <m:den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𝜕𝜃</m:t>
                                      </m:r>
                                    </m:den>
                                  </m:f>
                                  <m:sSup>
                                    <m:sSupPr>
                                      <m:ctrlP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𝑄</m:t>
                                      </m:r>
                                    </m:e>
                                    <m:sup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𝑎</m:t>
                                      </m:r>
                                    </m:e>
                                  </m:d>
                                </m:e>
                              </m:d>
                            </m:e>
                          </m:nary>
                        </m:e>
                        <m:e>
                          <m:r>
                            <a:rPr lang="en-US" altLang="zh-CN" sz="19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&amp;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sub>
                            <m:sup/>
                            <m:e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ctrlP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𝜕𝜋</m:t>
                                      </m:r>
                                      <m:d>
                                        <m:dPr>
                                          <m:ctrlP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𝑠</m:t>
                                          </m:r>
                                          <m: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𝑎</m:t>
                                          </m:r>
                                        </m:e>
                                      </m:d>
                                    </m:num>
                                    <m:den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𝜕𝜃</m:t>
                                      </m:r>
                                    </m:den>
                                  </m:f>
                                  <m:sSup>
                                    <m:sSupPr>
                                      <m:ctrlP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𝑄</m:t>
                                      </m:r>
                                    </m:e>
                                    <m:sup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𝑎</m:t>
                                      </m:r>
                                    </m:e>
                                  </m:d>
                                  <m:r>
                                    <a:rPr lang="en-US" altLang="zh-CN" sz="19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</m:t>
                                  </m:r>
                                  <m:r>
                                    <a:rPr lang="en-US" altLang="zh-CN" sz="19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𝜋</m:t>
                                  </m:r>
                                  <m:d>
                                    <m:dPr>
                                      <m:ctrlP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𝑎</m:t>
                                      </m:r>
                                    </m:e>
                                  </m:d>
                                  <m:f>
                                    <m:fPr>
                                      <m:ctrlP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𝜕</m:t>
                                      </m:r>
                                    </m:num>
                                    <m:den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𝜕𝜃</m:t>
                                      </m:r>
                                    </m:den>
                                  </m:f>
                                  <m:d>
                                    <m:dPr>
                                      <m:ctrlP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𝑟</m:t>
                                      </m:r>
                                      <m:d>
                                        <m:dPr>
                                          <m:ctrlPr>
                                            <a:rPr lang="en-US" altLang="zh-CN" sz="1900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sz="1900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𝑠</m:t>
                                          </m:r>
                                          <m:r>
                                            <a:rPr lang="en-US" altLang="zh-CN" sz="1900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,</m:t>
                                          </m:r>
                                          <m:r>
                                            <a:rPr lang="en-US" altLang="zh-CN" sz="1900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𝑎</m:t>
                                          </m:r>
                                        </m:e>
                                      </m:d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+</m:t>
                                      </m:r>
                                      <m:nary>
                                        <m:naryPr>
                                          <m:chr m:val="∑"/>
                                          <m:supHide m:val="on"/>
                                          <m:ctrlPr>
                                            <a:rPr lang="en-US" altLang="zh-CN" sz="1900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naryPr>
                                        <m:sub>
                                          <m:sSup>
                                            <m:sSupPr>
                                              <m:ctrlPr>
                                                <a:rPr lang="en-US" altLang="zh-CN" sz="1900" b="0" i="1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CN" sz="1900" b="0" i="1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𝑠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sz="1900" b="0" i="1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′</m:t>
                                              </m:r>
                                            </m:sup>
                                          </m:sSup>
                                        </m:sub>
                                        <m:sup/>
                                        <m:e>
                                          <m:r>
                                            <a:rPr lang="en-US" altLang="zh-CN" sz="1900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𝛾</m:t>
                                          </m:r>
                                          <m:sSubSup>
                                            <m:sSubSupPr>
                                              <m:ctrlPr>
                                                <a:rPr lang="en-US" altLang="zh-CN" sz="1900" b="0" i="1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</m:ctrlPr>
                                            </m:sSubSupPr>
                                            <m:e>
                                              <m:r>
                                                <a:rPr lang="en-US" altLang="zh-CN" sz="1900" b="0" i="1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𝑃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sz="1900" b="0" i="1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𝑠</m:t>
                                              </m:r>
                                              <m:sSup>
                                                <m:sSupPr>
                                                  <m:ctrlPr>
                                                    <a:rPr lang="en-US" altLang="zh-CN" sz="1900" b="0" i="1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sSupPr>
                                                <m:e>
                                                  <m:r>
                                                    <a:rPr lang="en-US" altLang="zh-CN" sz="1900" b="0" i="1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  <m:t>𝑠</m:t>
                                                  </m:r>
                                                </m:e>
                                                <m:sup>
                                                  <m:r>
                                                    <a:rPr lang="en-US" altLang="zh-CN" sz="1900" b="0" i="1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  <m:t>′</m:t>
                                                  </m:r>
                                                </m:sup>
                                              </m:sSup>
                                            </m:sub>
                                            <m:sup>
                                              <m:r>
                                                <a:rPr lang="en-US" altLang="zh-CN" sz="1900" b="0" i="1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𝑎</m:t>
                                              </m:r>
                                            </m:sup>
                                          </m:sSubSup>
                                          <m:sSup>
                                            <m:sSupPr>
                                              <m:ctrlPr>
                                                <a:rPr lang="en-US" altLang="zh-CN" sz="1900" b="0" i="1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</m:ctrlPr>
                                            </m:sSupPr>
                                            <m:e>
                                              <m:r>
                                                <a:rPr lang="en-US" altLang="zh-CN" sz="1900" b="0" i="1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𝑉</m:t>
                                              </m:r>
                                            </m:e>
                                            <m:sup>
                                              <m:r>
                                                <a:rPr lang="en-US" altLang="zh-CN" sz="1900" b="0" i="1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  <m:t>𝜋</m:t>
                                              </m:r>
                                            </m:sup>
                                          </m:sSup>
                                          <m:d>
                                            <m:dPr>
                                              <m:ctrlPr>
                                                <a:rPr lang="en-US" altLang="zh-CN" sz="1900" b="0" i="1" smtClean="0">
                                                  <a:latin typeface="Cambria Math" panose="02040503050406030204" pitchFamily="18" charset="0"/>
                                                  <a:ea typeface="Cambria Math" panose="02040503050406030204" pitchFamily="18" charset="0"/>
                                                </a:rPr>
                                              </m:ctrlPr>
                                            </m:dPr>
                                            <m:e>
                                              <m:sSup>
                                                <m:sSupPr>
                                                  <m:ctrlPr>
                                                    <a:rPr lang="en-US" altLang="zh-CN" sz="1900" b="0" i="1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</m:ctrlPr>
                                                </m:sSupPr>
                                                <m:e>
                                                  <m:r>
                                                    <a:rPr lang="en-US" altLang="zh-CN" sz="1900" b="0" i="1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  <m:t>𝑠</m:t>
                                                  </m:r>
                                                </m:e>
                                                <m:sup>
                                                  <m:r>
                                                    <a:rPr lang="en-US" altLang="zh-CN" sz="1900" b="0" i="1" smtClean="0">
                                                      <a:latin typeface="Cambria Math" panose="02040503050406030204" pitchFamily="18" charset="0"/>
                                                      <a:ea typeface="Cambria Math" panose="02040503050406030204" pitchFamily="18" charset="0"/>
                                                    </a:rPr>
                                                    <m:t>′</m:t>
                                                  </m:r>
                                                </m:sup>
                                              </m:sSup>
                                            </m:e>
                                          </m:d>
                                        </m:e>
                                      </m:nary>
                                    </m:e>
                                  </m:d>
                                </m:e>
                              </m:d>
                            </m:e>
                          </m:nary>
                        </m:e>
                        <m:e>
                          <m:r>
                            <a:rPr lang="en-US" altLang="zh-CN" sz="19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&amp;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sub>
                            <m:sup/>
                            <m:e>
                              <m:f>
                                <m:fPr>
                                  <m:ctrlPr>
                                    <a:rPr lang="en-US" altLang="zh-CN" sz="19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sz="19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𝜕𝜋</m:t>
                                  </m:r>
                                  <m:d>
                                    <m:dPr>
                                      <m:ctrlP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𝑎</m:t>
                                      </m:r>
                                    </m:e>
                                  </m:d>
                                </m:num>
                                <m:den>
                                  <m:r>
                                    <a:rPr lang="en-US" altLang="zh-CN" sz="19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𝜕𝜃</m:t>
                                  </m:r>
                                </m:den>
                              </m:f>
                              <m:sSup>
                                <m:sSupPr>
                                  <m:ctrlPr>
                                    <a:rPr lang="en-US" altLang="zh-CN" sz="19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9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𝑄</m:t>
                                  </m:r>
                                </m:e>
                                <m:sup>
                                  <m:r>
                                    <a:rPr lang="en-US" altLang="zh-CN" sz="19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sz="19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9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en-US" altLang="zh-CN" sz="19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altLang="zh-CN" sz="19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</m:d>
                            </m:e>
                          </m:nary>
                          <m:r>
                            <a:rPr lang="en-US" altLang="zh-CN" sz="19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sub>
                            <m:sup/>
                            <m:e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𝜋</m:t>
                              </m:r>
                              <m:d>
                                <m:dPr>
                                  <m:ctrlP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</m:d>
                              <m: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𝛾</m:t>
                              </m:r>
                            </m:e>
                          </m:nary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sz="19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naryPr>
                            <m:sub>
                              <m:sSup>
                                <m:sSupPr>
                                  <m:ctrlP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</m:e>
                                <m:sup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′</m:t>
                                  </m:r>
                                </m:sup>
                              </m:sSup>
                            </m:sub>
                            <m:sup/>
                            <m:e>
                              <m:sSubSup>
                                <m:sSubSupPr>
                                  <m:ctrlP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𝑠</m:t>
                                  </m:r>
                                  <m:sSup>
                                    <m:sSupPr>
                                      <m:ctrlP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𝑠</m:t>
                                      </m:r>
                                    </m:e>
                                    <m:sup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</m:sub>
                                <m:sup>
                                  <m:r>
                                    <a:rPr lang="en-US" altLang="zh-CN" sz="19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𝑎</m:t>
                                  </m:r>
                                </m:sup>
                              </m:sSubSup>
                              <m:f>
                                <m:fPr>
                                  <m:ctrlPr>
                                    <a:rPr lang="en-US" altLang="zh-CN" sz="19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sz="19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𝜕</m:t>
                                  </m:r>
                                  <m:sSup>
                                    <m:sSupPr>
                                      <m:ctrlP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en-US" altLang="zh-CN" sz="1900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sz="19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p>
                                        <m:sSupPr>
                                          <m:ctrlPr>
                                            <a:rPr lang="en-US" altLang="zh-CN" sz="1900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sz="19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𝑠</m:t>
                                          </m:r>
                                        </m:e>
                                        <m:sup>
                                          <m:r>
                                            <a:rPr lang="en-US" altLang="zh-CN" sz="1900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′</m:t>
                                          </m:r>
                                        </m:sup>
                                      </m:sSup>
                                    </m:e>
                                  </m:d>
                                </m:num>
                                <m:den>
                                  <m:r>
                                    <a:rPr lang="en-US" altLang="zh-CN" sz="19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𝜕𝜃</m:t>
                                  </m:r>
                                </m:den>
                              </m:f>
                            </m:e>
                          </m:nary>
                        </m:e>
                      </m:eqAr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5406848"/>
              </a:xfrm>
              <a:prstGeom prst="rect">
                <a:avLst/>
              </a:prstGeom>
              <a:blipFill>
                <a:blip r:embed="rId2"/>
                <a:stretch>
                  <a:fillRect l="-72" t="-33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文本框 6">
            <a:extLst>
              <a:ext uri="{FF2B5EF4-FFF2-40B4-BE49-F238E27FC236}">
                <a16:creationId xmlns:a16="http://schemas.microsoft.com/office/drawing/2014/main" id="{59A5A807-8D8C-413C-BF7E-9DF8879ED359}"/>
              </a:ext>
            </a:extLst>
          </p:cNvPr>
          <p:cNvSpPr txBox="1"/>
          <p:nvPr/>
        </p:nvSpPr>
        <p:spPr>
          <a:xfrm>
            <a:off x="430523" y="145018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附录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9C659960-ED44-4E6D-7B33-77EEC4D6A2EF}"/>
              </a:ext>
            </a:extLst>
          </p:cNvPr>
          <p:cNvSpPr txBox="1"/>
          <p:nvPr/>
        </p:nvSpPr>
        <p:spPr>
          <a:xfrm>
            <a:off x="281883" y="6526924"/>
            <a:ext cx="57038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推导过程请参考</a:t>
            </a:r>
            <a:r>
              <a:rPr lang="en-US" altLang="zh-CN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Rich Sutton Reinforcement Learning: An Introduction (2</a:t>
            </a:r>
            <a:r>
              <a:rPr lang="en-US" altLang="zh-CN" sz="1000" baseline="30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nd</a:t>
            </a:r>
            <a:r>
              <a:rPr lang="en-US" altLang="zh-CN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Edition)</a:t>
            </a:r>
            <a:r>
              <a:rPr lang="zh-CN" altLang="en-US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第</a:t>
            </a:r>
            <a:r>
              <a:rPr lang="en-US" altLang="zh-CN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3</a:t>
            </a:r>
            <a:r>
              <a:rPr lang="zh-CN" altLang="en-US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章</a:t>
            </a:r>
          </a:p>
        </p:txBody>
      </p:sp>
    </p:spTree>
    <p:extLst>
      <p:ext uri="{BB962C8B-B14F-4D97-AF65-F5344CB8AC3E}">
        <p14:creationId xmlns:p14="http://schemas.microsoft.com/office/powerpoint/2010/main" val="315682181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策略梯度定理：起始价值原则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6</a:t>
            </a:fld>
            <a:endParaRPr lang="zh-CN" alt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540684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925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700" dirty="0">
                    <a:ea typeface="阿里巴巴普惠体 R" panose="00020600040101010101" pitchFamily="18" charset="-122"/>
                  </a:rPr>
                  <a:t>起始状态价值目标</a:t>
                </a:r>
                <a:endParaRPr lang="en-US" altLang="zh-CN" sz="1700" dirty="0">
                  <a:ea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</m:sub>
                        <m:sup/>
                        <m:e>
                          <m:f>
                            <m:fPr>
                              <m:ctrlP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𝜋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sSup>
                            <m:sSupPr>
                              <m:ctrlP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d>
                            <m:dPr>
                              <m:ctrlP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</m:e>
                      </m:nary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+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</m:sub>
                        <m:sup/>
                        <m:e>
                          <m:r>
                            <a:rPr lang="en-US" altLang="zh-CN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𝜋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e>
                          </m:d>
                          <m:r>
                            <a:rPr lang="en-US" altLang="zh-CN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𝛾</m:t>
                          </m:r>
                        </m:e>
                      </m:nary>
                      <m:nary>
                        <m:naryPr>
                          <m:chr m:val="∑"/>
                          <m:supHide m:val="on"/>
                          <m:ctrlPr>
                            <a:rPr lang="en-US" altLang="zh-CN" b="0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naryPr>
                        <m:sub>
                          <m:sSub>
                            <m:sSubPr>
                              <m:ctrlP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1</m:t>
                              </m:r>
                            </m:sub>
                          </m:sSub>
                        </m:sub>
                        <m:sup/>
                        <m:e>
                          <m:sSubSup>
                            <m:sSubSupPr>
                              <m:ctrlP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SupPr>
                            <m:e>
                              <m: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</m:sub>
                            <m:sup>
                              <m: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sup>
                          </m:sSubSup>
                          <m:f>
                            <m:fPr>
                              <m:ctrlP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)</m:t>
                              </m:r>
                            </m:num>
                            <m:den>
                              <m: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</m:nary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supHide m:val="on"/>
                          <m:ctrlPr>
                            <a:rPr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sub>
                        <m:sup/>
                        <m:e>
                          <m:f>
                            <m:fPr>
                              <m:ctrlP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𝜋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sSup>
                            <m:sSupPr>
                              <m:ctrlP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r>
                            <a:rPr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e>
                      </m:nary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𝛾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0</m:t>
                          </m:r>
                        </m:sup>
                      </m:sSup>
                      <m:func>
                        <m:func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altLang="zh-CN" b="0" i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Pr</m:t>
                          </m:r>
                        </m:fName>
                        <m:e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→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𝑠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,0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</m:e>
                          </m:d>
                        </m:e>
                      </m:func>
                      <m:nary>
                        <m:naryPr>
                          <m:chr m:val="∑"/>
                          <m:supHide m:val="on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𝑎</m:t>
                          </m:r>
                        </m:sub>
                        <m:sup/>
                        <m:e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𝜋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eqArrPr>
                        <m:e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𝑎</m:t>
                              </m:r>
                            </m:sub>
                            <m:sup/>
                            <m:e>
                              <m: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𝜋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  <m: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  <m:t>𝛾</m:t>
                              </m:r>
                            </m:e>
                          </m:nary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  <a:cs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b>
                                <m:sSubPr>
                                  <m:ctrlP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</m:sub>
                            <m:sup/>
                            <m:e>
                              <m:sSubSup>
                                <m:sSubSupPr>
                                  <m:ctrlP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𝑠</m:t>
                                  </m:r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  <a:cs typeface="阿里巴巴普惠体 R" panose="00020600040101010101" pitchFamily="18" charset="-122"/>
                                        </a:rPr>
                                        <m:t>1</m:t>
                                      </m:r>
                                    </m:sub>
                                  </m:sSub>
                                </m:sub>
                                <m:sup>
                                  <m: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  <a:cs typeface="阿里巴巴普惠体 R" panose="00020600040101010101" pitchFamily="18" charset="-122"/>
                                    </a:rPr>
                                    <m:t>𝑎</m:t>
                                  </m:r>
                                </m:sup>
                              </m:sSubSup>
                            </m:e>
                          </m:nary>
                          <m:f>
                            <m:fPr>
                              <m:ctrlP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0" i="1" smtClean="0">
                                      <a:solidFill>
                                        <a:srgbClr val="00B0F0"/>
                                      </a:solidFill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solidFill>
                                            <a:srgbClr val="00B0F0"/>
                                          </a:solidFill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1</m:t>
                                      </m:r>
                                    </m:sub>
                                  </m:sSub>
                                </m:e>
                              </m:d>
                            </m:num>
                            <m:den>
                              <m:r>
                                <a:rPr lang="en-US" altLang="zh-CN" b="0" i="1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</m:sub>
                            <m:sup/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 </m:t>
                              </m:r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naryPr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sub>
                                <m:sup/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𝛾</m:t>
                                  </m:r>
                                </m:e>
                              </m:nary>
                              <m:sSubSup>
                                <m:sSub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1</m:t>
                                      </m:r>
                                    </m:sub>
                                  </m:sSub>
                                </m:sub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sup>
                              </m:sSubSup>
                              <m:f>
                                <m:f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</m:t>
                                  </m:r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  <m: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1</m:t>
                                          </m:r>
                                        </m:sub>
                                      </m:sSub>
                                    </m:e>
                                  </m:d>
                                </m:num>
                                <m:den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</m:e>
                          </m:nary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</m:sub>
                            <m:sup/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𝛾</m:t>
                              </m:r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1</m:t>
                                      </m:r>
                                    </m:sub>
                                  </m:sSub>
                                </m:sub>
                              </m:sSub>
                              <m:f>
                                <m:f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</m:t>
                                  </m:r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  <m: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1</m:t>
                                          </m:r>
                                        </m:sub>
                                      </m:sSub>
                                    </m:e>
                                  </m:d>
                                </m:num>
                                <m:den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</m:e>
                          </m:nary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1</m:t>
                              </m:r>
                            </m:sup>
                          </m:sSup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</m:sub>
                            <m:sup/>
                            <m:e>
                              <m:func>
                                <m:func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en-US" altLang="zh-CN" b="0" i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Pr</m:t>
                                  </m:r>
                                </m:fName>
                                <m:e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→</m:t>
                                      </m:r>
                                      <m:sSub>
                                        <m:sSub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  <m:sub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1</m:t>
                                          </m:r>
                                        </m:sub>
                                      </m:s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1,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</m:d>
                                </m:e>
                              </m:func>
                              <m:f>
                                <m:f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</m:t>
                                  </m:r>
                                  <m:sSup>
                                    <m:sSup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  <m: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1</m:t>
                                          </m:r>
                                        </m:sub>
                                      </m:sSub>
                                    </m:e>
                                  </m:d>
                                </m:num>
                                <m:den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</m:e>
                          </m:nary>
                        </m:e>
                      </m:eqArr>
                    </m:oMath>
                  </m:oMathPara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𝜕𝜃</m:t>
                          </m:r>
                        </m:den>
                      </m:f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naryPr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</m:sub>
                        <m:sup/>
                        <m:e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𝜋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1</m:t>
                                      </m:r>
                                    </m:sub>
                                  </m:s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𝑄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𝜋</m:t>
                              </m:r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𝑎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</m:e>
                      </m:nary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</a:rPr>
                        <m:t>+</m:t>
                      </m:r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s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𝛾</m:t>
                          </m:r>
                        </m:e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1</m:t>
                          </m:r>
                        </m:sup>
                      </m:sSup>
                      <m:nary>
                        <m:naryPr>
                          <m:chr m:val="∑"/>
                          <m:supHide m:val="on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naryPr>
                        <m:sub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2</m:t>
                              </m:r>
                            </m:sub>
                          </m:sSub>
                        </m:sub>
                        <m:sup/>
                        <m:e>
                          <m:r>
                            <m:rPr>
                              <m:sty m:val="p"/>
                            </m:rPr>
                            <a:rPr lang="en-US" altLang="zh-CN" b="0" i="0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Pr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⁡(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→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,1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𝜋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)</m:t>
                          </m:r>
                          <m:f>
                            <m:f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</m:d>
                            </m:num>
                            <m:den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</m:e>
                      </m:nary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5406848"/>
              </a:xfrm>
              <a:prstGeom prst="rect">
                <a:avLst/>
              </a:prstGeom>
              <a:blipFill>
                <a:blip r:embed="rId2"/>
                <a:stretch>
                  <a:fillRect l="-72" t="-33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文本框 6">
            <a:extLst>
              <a:ext uri="{FF2B5EF4-FFF2-40B4-BE49-F238E27FC236}">
                <a16:creationId xmlns:a16="http://schemas.microsoft.com/office/drawing/2014/main" id="{EC1AAFB9-76FF-4277-8985-003BD2311A36}"/>
              </a:ext>
            </a:extLst>
          </p:cNvPr>
          <p:cNvSpPr txBox="1"/>
          <p:nvPr/>
        </p:nvSpPr>
        <p:spPr>
          <a:xfrm>
            <a:off x="430523" y="145018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附录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8" name="TextBox 2">
            <a:extLst>
              <a:ext uri="{FF2B5EF4-FFF2-40B4-BE49-F238E27FC236}">
                <a16:creationId xmlns:a16="http://schemas.microsoft.com/office/drawing/2014/main" id="{26A9132F-3FBD-42A8-1D06-8E9A8AA554CE}"/>
              </a:ext>
            </a:extLst>
          </p:cNvPr>
          <p:cNvSpPr txBox="1"/>
          <p:nvPr/>
        </p:nvSpPr>
        <p:spPr>
          <a:xfrm>
            <a:off x="281883" y="6526924"/>
            <a:ext cx="57038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推导过程请参考</a:t>
            </a:r>
            <a:r>
              <a:rPr lang="en-US" altLang="zh-CN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Rich Sutton Reinforcement Learning: An Introduction (2</a:t>
            </a:r>
            <a:r>
              <a:rPr lang="en-US" altLang="zh-CN" sz="1000" baseline="30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nd</a:t>
            </a:r>
            <a:r>
              <a:rPr lang="en-US" altLang="zh-CN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Edition)</a:t>
            </a:r>
            <a:r>
              <a:rPr lang="zh-CN" altLang="en-US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第</a:t>
            </a:r>
            <a:r>
              <a:rPr lang="en-US" altLang="zh-CN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3</a:t>
            </a:r>
            <a:r>
              <a:rPr lang="zh-CN" altLang="en-US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章</a:t>
            </a:r>
          </a:p>
        </p:txBody>
      </p:sp>
    </p:spTree>
    <p:extLst>
      <p:ext uri="{BB962C8B-B14F-4D97-AF65-F5344CB8AC3E}">
        <p14:creationId xmlns:p14="http://schemas.microsoft.com/office/powerpoint/2010/main" val="225723078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策略梯度定理：起始价值原则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7</a:t>
            </a:fld>
            <a:endParaRPr lang="zh-CN" alt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219983"/>
                <a:ext cx="8487445" cy="540684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70000" lnSpcReduction="2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2300" dirty="0">
                    <a:ea typeface="阿里巴巴普惠体 R" panose="00020600040101010101" pitchFamily="18" charset="-122"/>
                  </a:rPr>
                  <a:t>起始状态价值目标</a:t>
                </a:r>
                <a:endParaRPr lang="en-US" altLang="zh-CN" sz="2300" dirty="0">
                  <a:ea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</m:ctrlPr>
                        </m:eqArrPr>
                        <m:e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0</m:t>
                              </m:r>
                            </m:sup>
                          </m:sSup>
                          <m:func>
                            <m:func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altLang="zh-CN" b="0" i="0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Pr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→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0,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</m:d>
                            </m:e>
                          </m:func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sub>
                            <m:sup/>
                            <m:e>
                              <m:f>
                                <m:f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𝜋</m:t>
                                  </m:r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</m:num>
                                <m:den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e>
                          </m:nary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1</m:t>
                              </m:r>
                            </m:sup>
                          </m:sSup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</m:sub>
                            <m:sup/>
                            <m:e>
                              <m:func>
                                <m:func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en-US" altLang="zh-CN" b="0" i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Pr</m:t>
                                  </m:r>
                                </m:fName>
                                <m:e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→</m:t>
                                      </m:r>
                                      <m:sSub>
                                        <m:sSub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  <m:sub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1</m:t>
                                          </m:r>
                                        </m:sub>
                                      </m:s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1,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</m:d>
                                </m:e>
                              </m:func>
                            </m:e>
                          </m:nary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sub>
                            <m:sup/>
                            <m:e>
                              <m:f>
                                <m:f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𝜋</m:t>
                                  </m:r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  <m:sub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1</m:t>
                                          </m:r>
                                        </m:sub>
                                      </m:s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</m:num>
                                <m:den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1</m:t>
                                      </m:r>
                                    </m:sub>
                                  </m:s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e>
                          </m:nary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2</m:t>
                              </m:r>
                            </m:sup>
                          </m:sSup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</m:sub>
                            <m:sup/>
                            <m:e>
                              <m:func>
                                <m:func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en-US" altLang="zh-CN" b="0" i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Pr</m:t>
                                  </m:r>
                                </m:fName>
                                <m:e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→</m:t>
                                      </m:r>
                                      <m:sSub>
                                        <m:sSub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  <m:sub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1</m:t>
                                          </m:r>
                                        </m:sub>
                                      </m:s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1,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</m:d>
                                </m:e>
                              </m:func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naryPr>
                                <m:sub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2</m:t>
                                      </m:r>
                                    </m:sub>
                                  </m:sSub>
                                </m:sub>
                                <m:sup/>
                                <m:e>
                                  <m:func>
                                    <m:func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en-US" altLang="zh-CN" b="0" i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Pr</m:t>
                                      </m:r>
                                    </m:fName>
                                    <m:e>
                                      <m:d>
                                        <m:d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1</m:t>
                                              </m:r>
                                            </m:sub>
                                          </m:sSub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→</m:t>
                                          </m:r>
                                          <m:sSub>
                                            <m:sSubPr>
                                              <m:ctrlP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2</m:t>
                                              </m:r>
                                            </m:sub>
                                          </m:sSub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,1,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</m:e>
                                      </m:d>
                                    </m:e>
                                  </m:func>
                                  <m:f>
                                    <m:f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</m:t>
                                      </m:r>
                                      <m:sSup>
                                        <m:sSup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𝑉</m:t>
                                          </m:r>
                                        </m:e>
                                        <m:sup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</m:sup>
                                      </m:sSup>
                                      <m:d>
                                        <m:d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2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</m:num>
                                    <m:den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𝜃</m:t>
                                      </m:r>
                                    </m:den>
                                  </m:f>
                                </m:e>
                              </m:nary>
                            </m:e>
                          </m:nary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0</m:t>
                              </m:r>
                            </m:sup>
                          </m:sSup>
                          <m:func>
                            <m:func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altLang="zh-CN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Pr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→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0,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</m:d>
                            </m:e>
                          </m:func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sub>
                            <m:sup/>
                            <m:e>
                              <m:f>
                                <m:f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𝜋</m:t>
                                  </m:r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</m:num>
                                <m:den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e>
                          </m:nary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1</m:t>
                              </m:r>
                            </m:sup>
                          </m:sSup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1</m:t>
                                  </m:r>
                                </m:sub>
                              </m:sSub>
                            </m:sub>
                            <m:sup/>
                            <m:e>
                              <m:func>
                                <m:func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en-US" altLang="zh-CN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Pr</m:t>
                                  </m:r>
                                </m:fName>
                                <m:e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→</m:t>
                                      </m:r>
                                      <m:sSub>
                                        <m:sSub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  <m: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1</m:t>
                                          </m:r>
                                        </m:sub>
                                      </m:s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1,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</m:d>
                                </m:e>
                              </m:func>
                            </m:e>
                          </m:nary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sub>
                            <m:sup/>
                            <m:e>
                              <m:f>
                                <m:f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𝜋</m:t>
                                  </m:r>
                                  <m:d>
                                    <m:d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  <m: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1</m:t>
                                          </m:r>
                                        </m:sub>
                                      </m:s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</m:num>
                                <m:den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  <m:sSup>
                                <m:sSup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1</m:t>
                                      </m:r>
                                    </m:sub>
                                  </m:s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e>
                              </m:d>
                            </m:e>
                          </m:nary>
                        </m:e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s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𝛾</m:t>
                              </m:r>
                            </m:e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2</m:t>
                              </m:r>
                            </m:sup>
                          </m:sSup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2</m:t>
                                  </m:r>
                                </m:sub>
                              </m:sSub>
                            </m:sub>
                            <m:sup/>
                            <m:e>
                              <m:func>
                                <m:func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en-US" altLang="zh-CN" b="0" i="0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Pr</m:t>
                                  </m:r>
                                </m:fName>
                                <m:e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→</m:t>
                                      </m:r>
                                      <m:sSub>
                                        <m:sSub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  <m:sub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2</m:t>
                                          </m:r>
                                        </m:sub>
                                      </m:s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2,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e>
                                  </m:d>
                                </m:e>
                              </m:func>
                              <m:f>
                                <m:f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</m:t>
                                  </m:r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𝑉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</m:e>
                                        <m:sub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2</m:t>
                                          </m:r>
                                        </m:sub>
                                      </m:sSub>
                                    </m:e>
                                  </m:d>
                                </m:num>
                                <m:den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</m:e>
                          </m:nary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nary>
                            <m:naryPr>
                              <m:chr m:val="∑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𝑘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=0</m:t>
                              </m:r>
                            </m:sub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∞</m:t>
                              </m:r>
                            </m:sup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 </m:t>
                              </m:r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naryPr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𝑥</m:t>
                                  </m:r>
                                </m:sub>
                                <m:sup/>
                                <m:e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𝛾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𝑘</m:t>
                                      </m:r>
                                    </m:sup>
                                  </m:sSup>
                                  <m:func>
                                    <m:func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en-US" altLang="zh-CN" b="0" i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Pr</m:t>
                                      </m:r>
                                    </m:fName>
                                    <m:e>
                                      <m:d>
                                        <m:d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→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𝑥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,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𝑘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,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</m:e>
                                      </m:d>
                                    </m:e>
                                  </m:func>
                                </m:e>
                              </m:nary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naryPr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sub>
                                <m:sup/>
                                <m:e>
                                  <m:f>
                                    <m:f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𝜋</m:t>
                                      </m:r>
                                      <m:d>
                                        <m:d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𝑥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,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</m:e>
                                      </m:d>
                                    </m:num>
                                    <m:den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𝜃</m:t>
                                      </m:r>
                                    </m:den>
                                  </m:f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𝑄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𝑥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</m:e>
                              </m:nary>
                            </m:e>
                          </m:nary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𝑥</m:t>
                              </m:r>
                            </m:sub>
                            <m:sup/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 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naryPr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𝑘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∞</m:t>
                                  </m:r>
                                </m:sup>
                                <m:e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𝛾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𝑘</m:t>
                                      </m:r>
                                    </m:sup>
                                  </m:sSup>
                                  <m:func>
                                    <m:func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en-US" altLang="zh-CN" b="0" i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Pr</m:t>
                                      </m:r>
                                    </m:fName>
                                    <m:e>
                                      <m:d>
                                        <m:d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→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𝑥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,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𝑘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,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</m:e>
                                      </m:d>
                                    </m:e>
                                  </m:func>
                                </m:e>
                              </m:nary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naryPr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sub>
                                <m:sup/>
                                <m:e>
                                  <m:f>
                                    <m:f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𝜋</m:t>
                                      </m:r>
                                      <m:d>
                                        <m:d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𝑥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,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</m:e>
                                      </m:d>
                                    </m:num>
                                    <m:den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𝜃</m:t>
                                      </m:r>
                                    </m:den>
                                  </m:f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𝑄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𝑥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</m:e>
                              </m:nary>
                            </m:e>
                          </m:nary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⇒</m:t>
                          </m:r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𝐽</m:t>
                              </m:r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e>
                              </m:d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&amp;</m:t>
                          </m:r>
                          <m:f>
                            <m:f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fPr>
                            <m:num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</m:t>
                              </m:r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𝑉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0</m:t>
                                      </m:r>
                                    </m:sub>
                                  </m:sSub>
                                </m:e>
                              </m:d>
                            </m:num>
                            <m:den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𝜕𝜃</m:t>
                              </m:r>
                            </m:den>
                          </m:f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sub>
                            <m:sup/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 </m:t>
                              </m:r>
                              <m:nary>
                                <m:naryPr>
                                  <m:chr m:val="∑"/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naryPr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𝑘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=0</m:t>
                                  </m:r>
                                </m:sub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∞</m:t>
                                  </m:r>
                                </m:sup>
                                <m:e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𝛾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𝑘</m:t>
                                      </m:r>
                                    </m:sup>
                                  </m:sSup>
                                  <m:func>
                                    <m:func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funcPr>
                                    <m:fName>
                                      <m:r>
                                        <m:rPr>
                                          <m:sty m:val="p"/>
                                        </m:rPr>
                                        <a:rPr lang="en-US" altLang="zh-CN" b="0" i="0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Pr</m:t>
                                      </m:r>
                                    </m:fName>
                                    <m:e>
                                      <m:d>
                                        <m:d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𝑠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altLang="zh-CN" b="0" i="1" smtClean="0">
                                                  <a:latin typeface="Cambria Math" panose="02040503050406030204" pitchFamily="18" charset="0"/>
                                                  <a:ea typeface="阿里巴巴普惠体 R" panose="00020600040101010101" pitchFamily="18" charset="-122"/>
                                                </a:rPr>
                                                <m:t>0</m:t>
                                              </m:r>
                                            </m:sub>
                                          </m:sSub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→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,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𝑘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,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𝜋</m:t>
                                          </m:r>
                                        </m:e>
                                      </m:d>
                                    </m:e>
                                  </m:func>
                                </m:e>
                              </m:nary>
                            </m:e>
                          </m:nary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𝑎</m:t>
                              </m:r>
                            </m:sub>
                            <m:sup/>
                            <m:e>
                              <m:f>
                                <m:f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fPr>
                                <m:num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𝜋</m:t>
                                  </m:r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</m:num>
                                <m:den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𝜕𝜃</m:t>
                                  </m:r>
                                </m:den>
                              </m:f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𝑄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,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 </m:t>
                                  </m:r>
                                </m:e>
                              </m:d>
                            </m:e>
                          </m:nary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</a:rPr>
                            <m:t>=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</m:ctrlPr>
                            </m:naryPr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  <a:ea typeface="阿里巴巴普惠体 R" panose="00020600040101010101" pitchFamily="18" charset="-122"/>
                                </a:rPr>
                                <m:t>𝑠</m:t>
                              </m:r>
                            </m:sub>
                            <m:sup/>
                            <m:e>
                              <m:sSup>
                                <m:sSup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𝑑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𝜋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𝑠</m:t>
                                  </m:r>
                                </m:e>
                              </m:d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</m:ctrlPr>
                                </m:naryPr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  <a:ea typeface="阿里巴巴普惠体 R" panose="00020600040101010101" pitchFamily="18" charset="-122"/>
                                    </a:rPr>
                                    <m:t>𝑎</m:t>
                                  </m:r>
                                </m:sub>
                                <m:sup/>
                                <m:e>
                                  <m:f>
                                    <m:f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𝜋</m:t>
                                      </m:r>
                                      <m:d>
                                        <m:dPr>
                                          <m:ctrlP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𝑠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,</m:t>
                                          </m:r>
                                          <m:r>
                                            <a:rPr lang="en-US" altLang="zh-CN" b="0" i="1" smtClean="0">
                                              <a:latin typeface="Cambria Math" panose="02040503050406030204" pitchFamily="18" charset="0"/>
                                              <a:ea typeface="阿里巴巴普惠体 R" panose="00020600040101010101" pitchFamily="18" charset="-122"/>
                                            </a:rPr>
                                            <m:t>𝑎</m:t>
                                          </m:r>
                                        </m:e>
                                      </m:d>
                                    </m:num>
                                    <m:den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𝜕𝜃</m:t>
                                      </m:r>
                                    </m:den>
                                  </m:f>
                                  <m:sSup>
                                    <m:sSup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𝑄</m:t>
                                      </m:r>
                                    </m:e>
                                    <m:sup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𝜋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𝑠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,</m:t>
                                      </m:r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  <a:ea typeface="阿里巴巴普惠体 R" panose="00020600040101010101" pitchFamily="18" charset="-122"/>
                                        </a:rPr>
                                        <m:t>𝑎</m:t>
                                      </m:r>
                                    </m:e>
                                  </m:d>
                                </m:e>
                              </m:nary>
                            </m:e>
                          </m:nary>
                        </m:e>
                      </m:eqArr>
                    </m:oMath>
                  </m:oMathPara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>
          <p:sp>
            <p:nvSpPr>
              <p:cNvPr id="5" name="内容占位符 2">
                <a:extLst>
                  <a:ext uri="{FF2B5EF4-FFF2-40B4-BE49-F238E27FC236}">
                    <a16:creationId xmlns:a16="http://schemas.microsoft.com/office/drawing/2014/main" id="{2091D211-1DEB-4091-B476-622E000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219983"/>
                <a:ext cx="8487445" cy="5406848"/>
              </a:xfrm>
              <a:prstGeom prst="rect">
                <a:avLst/>
              </a:prstGeom>
              <a:blipFill>
                <a:blip r:embed="rId2"/>
                <a:stretch>
                  <a:fillRect l="-72" t="-124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文本框 6">
            <a:extLst>
              <a:ext uri="{FF2B5EF4-FFF2-40B4-BE49-F238E27FC236}">
                <a16:creationId xmlns:a16="http://schemas.microsoft.com/office/drawing/2014/main" id="{6F15BF78-E4FE-4373-B889-75DA0D63F22D}"/>
              </a:ext>
            </a:extLst>
          </p:cNvPr>
          <p:cNvSpPr txBox="1"/>
          <p:nvPr/>
        </p:nvSpPr>
        <p:spPr>
          <a:xfrm>
            <a:off x="430523" y="145018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附录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8" name="TextBox 2">
            <a:extLst>
              <a:ext uri="{FF2B5EF4-FFF2-40B4-BE49-F238E27FC236}">
                <a16:creationId xmlns:a16="http://schemas.microsoft.com/office/drawing/2014/main" id="{4E07F8E4-A23C-C6CF-56EA-9907FD35B43D}"/>
              </a:ext>
            </a:extLst>
          </p:cNvPr>
          <p:cNvSpPr txBox="1"/>
          <p:nvPr/>
        </p:nvSpPr>
        <p:spPr>
          <a:xfrm>
            <a:off x="281883" y="6526924"/>
            <a:ext cx="57038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推导过程请参考</a:t>
            </a:r>
            <a:r>
              <a:rPr lang="en-US" altLang="zh-CN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Rich Sutton Reinforcement Learning: An Introduction (2</a:t>
            </a:r>
            <a:r>
              <a:rPr lang="en-US" altLang="zh-CN" sz="1000" baseline="30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nd</a:t>
            </a:r>
            <a:r>
              <a:rPr lang="en-US" altLang="zh-CN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Edition)</a:t>
            </a:r>
            <a:r>
              <a:rPr lang="zh-CN" altLang="en-US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第</a:t>
            </a:r>
            <a:r>
              <a:rPr lang="en-US" altLang="zh-CN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3</a:t>
            </a:r>
            <a:r>
              <a:rPr lang="zh-CN" altLang="en-US" sz="1000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章</a:t>
            </a:r>
          </a:p>
        </p:txBody>
      </p:sp>
    </p:spTree>
    <p:extLst>
      <p:ext uri="{BB962C8B-B14F-4D97-AF65-F5344CB8AC3E}">
        <p14:creationId xmlns:p14="http://schemas.microsoft.com/office/powerpoint/2010/main" val="20520426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主要内容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3" y="1219983"/>
            <a:ext cx="8137922" cy="46077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300000"/>
              </a:lnSpc>
            </a:pPr>
            <a:r>
              <a:rPr lang="zh-CN" altLang="en-US" sz="2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大规模马尔可夫决策过程的解决方法</a:t>
            </a:r>
            <a:endParaRPr lang="en-US" altLang="zh-CN" sz="24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300000"/>
              </a:lnSpc>
            </a:pP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状态</a:t>
            </a:r>
            <a:r>
              <a:rPr lang="en-US" altLang="zh-CN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/</a:t>
            </a: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动作进行离散化或分桶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300000"/>
              </a:lnSpc>
            </a:pP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构建</a:t>
            </a:r>
            <a:r>
              <a:rPr lang="zh-CN" altLang="en-US" sz="2000" b="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参数化的值函数估计</a:t>
            </a:r>
            <a:endParaRPr lang="en-US" altLang="zh-CN" sz="2000" b="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22725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6660"/>
    </mc:Choice>
    <mc:Fallback xmlns="">
      <p:transition advTm="2666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4480C692-B31A-0344-BFAA-BF8D473C02A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sp>
        <p:nvSpPr>
          <p:cNvPr id="11" name="文本占位符 1">
            <a:extLst>
              <a:ext uri="{FF2B5EF4-FFF2-40B4-BE49-F238E27FC236}">
                <a16:creationId xmlns:a16="http://schemas.microsoft.com/office/drawing/2014/main" id="{3296A87F-F951-AE48-9C79-1BD310D192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26456" y="2888189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r>
              <a:rPr kumimoji="1" lang="zh-CN" altLang="en-US" dirty="0"/>
              <a:t>对状态</a:t>
            </a:r>
            <a:r>
              <a:rPr kumimoji="1" lang="en-US" altLang="zh-CN" dirty="0"/>
              <a:t>/</a:t>
            </a:r>
            <a:r>
              <a:rPr kumimoji="1" lang="zh-CN" altLang="en-US" dirty="0"/>
              <a:t>动作进行离散化</a:t>
            </a:r>
          </a:p>
        </p:txBody>
      </p:sp>
      <p:sp>
        <p:nvSpPr>
          <p:cNvPr id="12" name="文本占位符 2">
            <a:extLst>
              <a:ext uri="{FF2B5EF4-FFF2-40B4-BE49-F238E27FC236}">
                <a16:creationId xmlns:a16="http://schemas.microsoft.com/office/drawing/2014/main" id="{5724F0BF-53A1-8C4C-AD42-0E17F053D77A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255352" y="2853899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  <p:sp>
        <p:nvSpPr>
          <p:cNvPr id="13" name="文本占位符 3">
            <a:extLst>
              <a:ext uri="{FF2B5EF4-FFF2-40B4-BE49-F238E27FC236}">
                <a16:creationId xmlns:a16="http://schemas.microsoft.com/office/drawing/2014/main" id="{6CFF8168-52EA-4041-999C-A03781529AD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026456" y="3666890"/>
            <a:ext cx="3944700" cy="407781"/>
          </a:xfrm>
        </p:spPr>
        <p:txBody>
          <a:bodyPr anchor="ctr" anchorCtr="0">
            <a:normAutofit lnSpcReduction="10000"/>
          </a:bodyPr>
          <a:lstStyle/>
          <a:p>
            <a:r>
              <a:rPr kumimoji="1" lang="zh-CN" altLang="en-US" dirty="0"/>
              <a:t>参数化价值函数</a:t>
            </a:r>
          </a:p>
        </p:txBody>
      </p:sp>
      <p:sp>
        <p:nvSpPr>
          <p:cNvPr id="14" name="文本占位符 4">
            <a:extLst>
              <a:ext uri="{FF2B5EF4-FFF2-40B4-BE49-F238E27FC236}">
                <a16:creationId xmlns:a16="http://schemas.microsoft.com/office/drawing/2014/main" id="{3A06AF6E-4CC5-1448-8068-D29DC14654C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255352" y="3632600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5135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4409"/>
    </mc:Choice>
    <mc:Fallback xmlns="">
      <p:transition advTm="14409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kumimoji="1" lang="zh-CN" altLang="en-US" dirty="0"/>
              <a:t>对状态</a:t>
            </a:r>
            <a:r>
              <a:rPr kumimoji="1" lang="en-US" altLang="zh-CN" dirty="0"/>
              <a:t>/</a:t>
            </a:r>
            <a:r>
              <a:rPr kumimoji="1" lang="zh-CN" altLang="en-US" dirty="0"/>
              <a:t>动作</a:t>
            </a:r>
            <a:br>
              <a:rPr kumimoji="1" lang="en-US" altLang="zh-CN" dirty="0"/>
            </a:br>
            <a:r>
              <a:rPr kumimoji="1" lang="zh-CN" altLang="en-US" dirty="0"/>
              <a:t>进行离散化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7515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7377"/>
    </mc:Choice>
    <mc:Fallback xmlns="">
      <p:transition advTm="7377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离散化连续马尔可夫决策过程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2091D211-1DEB-4091-B476-622E00097C9B}"/>
              </a:ext>
            </a:extLst>
          </p:cNvPr>
          <p:cNvSpPr txBox="1">
            <a:spLocks/>
          </p:cNvSpPr>
          <p:nvPr/>
        </p:nvSpPr>
        <p:spPr>
          <a:xfrm>
            <a:off x="502442" y="1219983"/>
            <a:ext cx="8487445" cy="46077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于连续状态马尔可夫决策过程，我们可以对状态空间进行离散化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内容占位符 2">
                <a:extLst>
                  <a:ext uri="{FF2B5EF4-FFF2-40B4-BE49-F238E27FC236}">
                    <a16:creationId xmlns:a16="http://schemas.microsoft.com/office/drawing/2014/main" id="{576EFCC9-10A8-4B81-9ACF-6ED5C4689F6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940" y="1871546"/>
                <a:ext cx="4839127" cy="460772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>
                  <a:lnSpc>
                    <a:spcPct val="150000"/>
                  </a:lnSpc>
                </a:pP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例如，如果用</a:t>
                </a:r>
                <a:r>
                  <a:rPr lang="en-US" altLang="zh-CN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2</a:t>
                </a: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维连续值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1</m:t>
                            </m:r>
                          </m:sub>
                        </m:s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𝑠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表示状态，可以使用网格对状态空间进行切分从而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转化为离散的状态值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记离散的状态值为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zh-CN" altLang="en-US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acc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𝑠</m:t>
                        </m:r>
                      </m:e>
                    </m:acc>
                  </m:oMath>
                </a14:m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离散化的马尔可夫决策过程可以表示为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		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acc>
                      <m:accPr>
                        <m:chr m:val="̅"/>
                        <m:ctrlPr>
                          <a:rPr lang="zh-CN" altLang="en-US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</m:ctrlPr>
                      </m:accPr>
                      <m:e>
                        <m:r>
                          <a:rPr lang="en-US" altLang="zh-CN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</a:rPr>
                          <m:t>𝑆</m:t>
                        </m:r>
                      </m:e>
                    </m:acc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𝐴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d>
                      <m:dPr>
                        <m:begChr m:val="{"/>
                        <m:endChr m:val="}"/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𝑃</m:t>
                            </m:r>
                          </m:e>
                          <m:sub>
                            <m:acc>
                              <m:accPr>
                                <m:chr m:val="̅"/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</a:rPr>
                                </m:ctrlPr>
                              </m:accPr>
                              <m:e>
                                <m:r>
                                  <a:rPr lang="en-US" altLang="zh-CN" i="1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</a:rPr>
                                  <m:t>𝑠</m:t>
                                </m:r>
                              </m:e>
                            </m:acc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</a:rPr>
                              <m:t>𝑎</m:t>
                            </m:r>
                          </m:sub>
                        </m:sSub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𝛾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𝑅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b="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这样一来，就能够使用前述方法求解马尔可夫决策过程</a:t>
                </a:r>
                <a:endParaRPr lang="en-US" altLang="zh-CN" b="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7" name="内容占位符 2">
                <a:extLst>
                  <a:ext uri="{FF2B5EF4-FFF2-40B4-BE49-F238E27FC236}">
                    <a16:creationId xmlns:a16="http://schemas.microsoft.com/office/drawing/2014/main" id="{576EFCC9-10A8-4B81-9ACF-6ED5C4689F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40" y="1871546"/>
                <a:ext cx="4839127" cy="4607722"/>
              </a:xfrm>
              <a:prstGeom prst="rect">
                <a:avLst/>
              </a:prstGeom>
              <a:blipFill>
                <a:blip r:embed="rId4"/>
                <a:stretch>
                  <a:fillRect r="-289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5" name="Group 14">
            <a:extLst>
              <a:ext uri="{FF2B5EF4-FFF2-40B4-BE49-F238E27FC236}">
                <a16:creationId xmlns:a16="http://schemas.microsoft.com/office/drawing/2014/main" id="{36AC4F71-B31A-4E88-BE51-E8F54FBDA289}"/>
              </a:ext>
            </a:extLst>
          </p:cNvPr>
          <p:cNvGrpSpPr/>
          <p:nvPr/>
        </p:nvGrpSpPr>
        <p:grpSpPr>
          <a:xfrm>
            <a:off x="4905067" y="1871546"/>
            <a:ext cx="3487464" cy="3253417"/>
            <a:chOff x="4905067" y="1871546"/>
            <a:chExt cx="3487464" cy="3253417"/>
          </a:xfrm>
        </p:grpSpPr>
        <p:pic>
          <p:nvPicPr>
            <p:cNvPr id="8" name="图片 3">
              <a:extLst>
                <a:ext uri="{FF2B5EF4-FFF2-40B4-BE49-F238E27FC236}">
                  <a16:creationId xmlns:a16="http://schemas.microsoft.com/office/drawing/2014/main" id="{47BB2DF0-9DF3-447D-B94B-6380CBDCF80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341569" y="1871546"/>
              <a:ext cx="3050962" cy="2877468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0C90847A-578D-497D-A56C-F594C885904E}"/>
                    </a:ext>
                  </a:extLst>
                </p:cNvPr>
                <p:cNvSpPr txBox="1"/>
                <p:nvPr/>
              </p:nvSpPr>
              <p:spPr>
                <a:xfrm>
                  <a:off x="6518801" y="3272316"/>
                  <a:ext cx="360933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̅"/>
                            <m:ctrlPr>
                              <a:rPr lang="en-US" altLang="zh-CN" b="0" i="1" dirty="0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zh-CN" b="0" i="1" dirty="0" smtClean="0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acc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0C90847A-578D-497D-A56C-F594C885904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18801" y="3272316"/>
                  <a:ext cx="360933" cy="369332"/>
                </a:xfrm>
                <a:prstGeom prst="rect">
                  <a:avLst/>
                </a:prstGeom>
                <a:blipFill>
                  <a:blip r:embed="rId6"/>
                  <a:stretch>
                    <a:fillRect r="-20000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580506F9-38D6-4F85-A838-019B71D4401A}"/>
                    </a:ext>
                  </a:extLst>
                </p:cNvPr>
                <p:cNvSpPr txBox="1"/>
                <p:nvPr/>
              </p:nvSpPr>
              <p:spPr>
                <a:xfrm>
                  <a:off x="6767010" y="4755631"/>
                  <a:ext cx="462498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580506F9-38D6-4F85-A838-019B71D4401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767010" y="4755631"/>
                  <a:ext cx="462498" cy="369332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05DB5EFB-A4A7-4285-8D67-31B07E9586B6}"/>
                    </a:ext>
                  </a:extLst>
                </p:cNvPr>
                <p:cNvSpPr txBox="1"/>
                <p:nvPr/>
              </p:nvSpPr>
              <p:spPr>
                <a:xfrm>
                  <a:off x="4905067" y="3125614"/>
                  <a:ext cx="467820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altLang="zh-CN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05DB5EFB-A4A7-4285-8D67-31B07E9586B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905067" y="3125614"/>
                  <a:ext cx="467820" cy="369332"/>
                </a:xfrm>
                <a:prstGeom prst="rect">
                  <a:avLst/>
                </a:prstGeom>
                <a:blipFill>
                  <a:blip r:embed="rId8"/>
                  <a:stretch>
                    <a:fillRect b="-1667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2900681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3852"/>
    </mc:Choice>
    <mc:Fallback xmlns="">
      <p:transition advTm="43852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4.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2.1|15|10.1|24.8"/>
</p:tagLst>
</file>

<file path=ppt/theme/theme1.xml><?xml version="1.0" encoding="utf-8"?>
<a:theme xmlns:a="http://schemas.openxmlformats.org/drawingml/2006/main" name="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0676</TotalTime>
  <Words>2829</Words>
  <Application>Microsoft Office PowerPoint</Application>
  <PresentationFormat>全屏显示(4:3)</PresentationFormat>
  <Paragraphs>497</Paragraphs>
  <Slides>57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7</vt:i4>
      </vt:variant>
    </vt:vector>
  </HeadingPairs>
  <TitlesOfParts>
    <vt:vector size="69" baseType="lpstr">
      <vt:lpstr>Alibaba PuHuiTi</vt:lpstr>
      <vt:lpstr>阿里巴巴普惠体 B</vt:lpstr>
      <vt:lpstr>阿里巴巴普惠体 R</vt:lpstr>
      <vt:lpstr>Microsoft YaHei</vt:lpstr>
      <vt:lpstr>Arial</vt:lpstr>
      <vt:lpstr>Calibri</vt:lpstr>
      <vt:lpstr>Cambria Math</vt:lpstr>
      <vt:lpstr>Consolas</vt:lpstr>
      <vt:lpstr>Wingdings</vt:lpstr>
      <vt:lpstr>主题5</vt:lpstr>
      <vt:lpstr>2_主题5</vt:lpstr>
      <vt:lpstr>think-cell Slide</vt:lpstr>
      <vt:lpstr>PowerPoint 演示文稿</vt:lpstr>
      <vt:lpstr>课程大纲</vt:lpstr>
      <vt:lpstr>课程回顾</vt:lpstr>
      <vt:lpstr>PowerPoint 演示文稿</vt:lpstr>
      <vt:lpstr>本课程中解决的关键问题</vt:lpstr>
      <vt:lpstr>主要内容</vt:lpstr>
      <vt:lpstr>PowerPoint 演示文稿</vt:lpstr>
      <vt:lpstr>对状态/动作 进行离散化</vt:lpstr>
      <vt:lpstr>离散化连续马尔可夫决策过程</vt:lpstr>
      <vt:lpstr>对大型马尔可夫决策过程分桶</vt:lpstr>
      <vt:lpstr>离散化/分桶</vt:lpstr>
      <vt:lpstr>参数化 价值函数</vt:lpstr>
      <vt:lpstr>参数化值函数近似</vt:lpstr>
      <vt:lpstr>值函数近似的主要形式</vt:lpstr>
      <vt:lpstr>基于随机梯度下降（SGD）的值函数近似</vt:lpstr>
      <vt:lpstr>特征化状态</vt:lpstr>
      <vt:lpstr>PowerPoint 演示文稿</vt:lpstr>
      <vt:lpstr>PowerPoint 演示文稿</vt:lpstr>
      <vt:lpstr>状态值函数近似</vt:lpstr>
      <vt:lpstr>线性状态值函数近似</vt:lpstr>
      <vt:lpstr>蒙特卡洛状态值函数近似</vt:lpstr>
      <vt:lpstr>时序差分状态值函数近似</vt:lpstr>
      <vt:lpstr>状态-动作值函数近似</vt:lpstr>
      <vt:lpstr>状态-动作值函数近似</vt:lpstr>
      <vt:lpstr>线性状态-动作值函数近似</vt:lpstr>
      <vt:lpstr>时序差分状态-动作值函数近似</vt:lpstr>
      <vt:lpstr>时序差分状态-动作值函数近似</vt:lpstr>
      <vt:lpstr>时序差分学习参数更新过程</vt:lpstr>
      <vt:lpstr>案例分析</vt:lpstr>
      <vt:lpstr>案例分析：Deep Q-Network (DQN)</vt:lpstr>
      <vt:lpstr>案例分析：Deep Q-Network (DQN)</vt:lpstr>
      <vt:lpstr>案例分析：Deep Q-Network (DQN)</vt:lpstr>
      <vt:lpstr>PowerPoint 演示文稿</vt:lpstr>
      <vt:lpstr>参数化策略</vt:lpstr>
      <vt:lpstr>基于策略的强化学习</vt:lpstr>
      <vt:lpstr>策略梯度</vt:lpstr>
      <vt:lpstr>单步马尔可夫决策过程中的策略梯度</vt:lpstr>
      <vt:lpstr>似然比 (Likelihood Ratio)</vt:lpstr>
      <vt:lpstr>策略梯度定理</vt:lpstr>
      <vt:lpstr>蒙特卡洛策略梯度（REINFORCE）</vt:lpstr>
      <vt:lpstr>蒙特卡洛策略梯度（REINFORCE）</vt:lpstr>
      <vt:lpstr>Puck World 冰球世界示例</vt:lpstr>
      <vt:lpstr>Softmax随机策略</vt:lpstr>
      <vt:lpstr>Softmax随机策略</vt:lpstr>
      <vt:lpstr>PowerPoint 演示文稿</vt:lpstr>
      <vt:lpstr>REINFORCE 存在的问题</vt:lpstr>
      <vt:lpstr>Actor-Critic</vt:lpstr>
      <vt:lpstr>Actor-Critic训练</vt:lpstr>
      <vt:lpstr>A2C： Advantageous Actor-Critic</vt:lpstr>
      <vt:lpstr>A2C：Advantageous Actor-Critic</vt:lpstr>
      <vt:lpstr>价值和策略的近似逼近方法总结</vt:lpstr>
      <vt:lpstr>PowerPoint 演示文稿</vt:lpstr>
      <vt:lpstr>策略梯度定理：平均奖励原则</vt:lpstr>
      <vt:lpstr>策略梯度定理：平均奖励原则</vt:lpstr>
      <vt:lpstr>策略梯度定理：起始价值原则</vt:lpstr>
      <vt:lpstr>策略梯度定理：起始价值原则</vt:lpstr>
      <vt:lpstr>策略梯度定理：起始价值原则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6-近似逼近方法</dc:title>
  <dc:creator>Weinan Zhang</dc:creator>
  <cp:lastModifiedBy>Zhang Weinan</cp:lastModifiedBy>
  <cp:revision>214</cp:revision>
  <cp:lastPrinted>2019-07-12T11:51:00Z</cp:lastPrinted>
  <dcterms:created xsi:type="dcterms:W3CDTF">2019-04-27T16:00:00Z</dcterms:created>
  <dcterms:modified xsi:type="dcterms:W3CDTF">2022-05-16T09:14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698</vt:lpwstr>
  </property>
</Properties>
</file>